
<file path=[Content_Types].xml><?xml version="1.0" encoding="utf-8"?>
<Types xmlns="http://schemas.openxmlformats.org/package/2006/content-types">
  <Default ContentType="application/vnd.openxmlformats-officedocument.oleObject" Extension="bin"/>
  <Default ContentType="image/x-emf" Extension="emf"/>
  <Default ContentType="image/png" Extension="png"/>
  <Default ContentType="application/vnd.openxmlformats-package.relationships+xml" Extension="rels"/>
  <Default ContentType="application/xml" Extension="xml"/>
  <Override ContentType="application/vnd.openxmlformats-officedocument.customXmlProperties+xml" PartName="/customXml/itemProps1.xml"/>
  <Override ContentType="application/vnd.openxmlformats-officedocument.customXmlProperties+xml" PartName="/customXml/itemProps2.xml"/>
  <Override ContentType="application/vnd.openxmlformats-officedocument.customXmlProperties+xml" PartName="/customXml/itemProps3.xml"/>
  <Override ContentType="application/vnd.ms-office.classificationlabels+xml" PartName="/docMetadata/LabelInfo.xml"/>
  <Override ContentType="application/vnd.openxmlformats-officedocument.extended-properties+xml" PartName="/docProps/app.xml"/>
  <Override ContentType="application/vnd.openxmlformats-package.core-properties+xml" PartName="/docProps/core.xml"/>
  <Override ContentType="application/vnd.openxmlformats-officedocument.custom-properties+xml" PartName="/docProps/custom.xml"/>
  <Override ContentType="application/vnd.ms-powerpoint.changesinfo+xml" PartName="/ppt/changesInfos/changesInfo1.xml"/>
  <Override ContentType="application/vnd.openxmlformats-officedocument.presentationml.notesMaster+xml" PartName="/ppt/notesMasters/notesMaster1.xml"/>
  <Override ContentType="application/vnd.openxmlformats-officedocument.presentationml.presentation.main+xml" PartName="/ppt/presentation.xml"/>
  <Override ContentType="application/vnd.openxmlformats-officedocument.presentationml.presProps+xml" PartName="/ppt/presProps.xml"/>
  <Override ContentType="application/vnd.ms-powerpoint.revisioninfo+xml" PartName="/ppt/revisionInfo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4.xml"/>
  <Override ContentType="application/vnd.openxmlformats-officedocument.presentationml.slideMaster+xml" PartName="/ppt/slideMasters/slideMaster1.xml"/>
  <Override ContentType="application/vnd.openxmlformats-officedocument.presentationml.slide+xml" PartName="/ppt/slides/slide1.xml"/>
  <Override ContentType="application/vnd.openxmlformats-officedocument.presentationml.slide+xml" PartName="/ppt/slides/slide2.xml"/>
  <Override ContentType="application/vnd.openxmlformats-officedocument.presentationml.slide+xml" PartName="/ppt/slides/slide3.xml"/>
  <Override ContentType="application/vnd.openxmlformats-officedocument.presentationml.slide+xml" PartName="/ppt/slides/slide4.xml"/>
  <Override ContentType="application/vnd.openxmlformats-officedocument.presentationml.tableStyles+xml" PartName="/ppt/tableStyles.xml"/>
  <Override ContentType="application/vnd.openxmlformats-officedocument.presentationml.tags+xml" PartName="/ppt/tags/tag1.xml"/>
  <Override ContentType="application/vnd.openxmlformats-officedocument.presentationml.tags+xml" PartName="/ppt/tags/tag2.xml"/>
  <Override ContentType="application/vnd.openxmlformats-officedocument.presentationml.tags+xml" PartName="/ppt/tags/tag3.xml"/>
  <Override ContentType="application/vnd.openxmlformats-officedocument.presentationml.tags+xml" PartName="/ppt/tags/tag4.xml"/>
  <Override ContentType="application/vnd.openxmlformats-officedocument.presentationml.tags+xml" PartName="/ppt/tags/tag5.xml"/>
  <Override ContentType="application/vnd.openxmlformats-officedocument.theme+xml" PartName="/ppt/theme/theme1.xml"/>
  <Override ContentType="application/vnd.openxmlformats-officedocument.theme+xml" PartName="/ppt/theme/theme2.xml"/>
  <Override ContentType="application/vnd.openxmlformats-officedocument.presentationml.viewProps+xml" PartName="/ppt/viewProps.xml"/>
</Types>
</file>

<file path=_rels/.rels><?xml version="1.0" encoding="UTF-8" standalone="yes"?><Relationships xmlns="http://schemas.openxmlformats.org/package/2006/relationships"><Relationship Id="rId1" Target="ppt/presentation.xml" Type="http://schemas.openxmlformats.org/officeDocument/2006/relationships/officeDocument"/><Relationship Id="rId2" Target="docProps/core.xml" Type="http://schemas.openxmlformats.org/package/2006/relationships/metadata/core-properties"/><Relationship Id="rId3" Target="docProps/app.xml" Type="http://schemas.openxmlformats.org/officeDocument/2006/relationships/extended-properties"/><Relationship Id="rId4" Target="docProps/custom.xml" Type="http://schemas.openxmlformats.org/officeDocument/2006/relationships/custom-properties"/><Relationship Id="rId5" Target="docMetadata/LabelInfo.xml" Type="http://schemas.microsoft.com/office/2020/02/relationships/classificationlabels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5" r:id="rId4"/>
  </p:sldMasterIdLst>
  <p:notesMasterIdLst>
    <p:notesMasterId r:id="rId9"/>
  </p:notesMasterIdLst>
  <p:sldIdLst>
    <p:sldId id="2147378723" r:id="rId5"/>
    <p:sldId id="2147378728" r:id="rId6"/>
    <p:sldId id="2147378726" r:id="rId7"/>
    <p:sldId id="2147378727" r:id="rId8"/>
  </p:sldIdLst>
  <p:sldSz cx="12192000" cy="6858000"/>
  <p:notesSz cx="6807200" cy="9939338"/>
  <p:custDataLst>
    <p:tags r:id="rId10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53" userDrawn="1">
          <p15:clr>
            <a:srgbClr val="A4A3A4"/>
          </p15:clr>
        </p15:guide>
        <p15:guide id="2" orient="horz" pos="4088" userDrawn="1">
          <p15:clr>
            <a:srgbClr val="A4A3A4"/>
          </p15:clr>
        </p15:guide>
        <p15:guide id="3" pos="190" userDrawn="1">
          <p15:clr>
            <a:srgbClr val="A4A3A4"/>
          </p15:clr>
        </p15:guide>
        <p15:guide id="4" pos="7469" userDrawn="1">
          <p15:clr>
            <a:srgbClr val="A4A3A4"/>
          </p15:clr>
        </p15:guide>
        <p15:guide id="5" pos="1527" userDrawn="1">
          <p15:clr>
            <a:srgbClr val="A4A3A4"/>
          </p15:clr>
        </p15:guide>
        <p15:guide id="6" orient="horz" pos="1502" userDrawn="1">
          <p15:clr>
            <a:srgbClr val="A4A3A4"/>
          </p15:clr>
        </p15:guide>
        <p15:guide id="7" pos="3840" userDrawn="1">
          <p15:clr>
            <a:srgbClr val="A4A3A4"/>
          </p15:clr>
        </p15:guide>
        <p15:guide id="8" orient="horz" pos="2228" userDrawn="1">
          <p15:clr>
            <a:srgbClr val="A4A3A4"/>
          </p15:clr>
        </p15:guide>
        <p15:guide id="9" orient="horz" pos="2387" userDrawn="1">
          <p15:clr>
            <a:srgbClr val="A4A3A4"/>
          </p15:clr>
        </p15:guide>
        <p15:guide id="10" orient="horz" pos="2999" userDrawn="1">
          <p15:clr>
            <a:srgbClr val="A4A3A4"/>
          </p15:clr>
        </p15:guide>
        <p15:guide id="11" orient="horz" pos="188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F300"/>
    <a:srgbClr val="E4E4E4"/>
    <a:srgbClr val="00C2C0"/>
    <a:srgbClr val="9494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7EE16B9-CF89-4026-86BA-0D6F998866C2}" v="8" dt="2025-02-10T05:25:09.88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スタイル (淡色)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淡色スタイル 2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1E4AEA4-8DFA-4A89-87EB-49C32662AFE0}" styleName="中間スタイル 2 - アクセント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スタイルなし、表のグリッド線なし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C2FFA5D-87B4-456A-9821-1D502468CF0F}" styleName="テーマ スタイル 1 - アクセント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3296810-A885-4BE3-A3E7-6D5BEEA58F35}" styleName="中間スタイル 2 - アクセント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D113A9D2-9D6B-4929-AA2D-F23B5EE8CBE7}" styleName="テーマ スタイル 2 - アクセント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3" d="100"/>
          <a:sy n="103" d="100"/>
        </p:scale>
        <p:origin x="792" y="108"/>
      </p:cViewPr>
      <p:guideLst>
        <p:guide orient="horz" pos="1253"/>
        <p:guide orient="horz" pos="4088"/>
        <p:guide pos="190"/>
        <p:guide pos="7469"/>
        <p:guide pos="1527"/>
        <p:guide orient="horz" pos="1502"/>
        <p:guide pos="3840"/>
        <p:guide orient="horz" pos="2228"/>
        <p:guide orient="horz" pos="2387"/>
        <p:guide orient="horz" pos="2999"/>
        <p:guide orient="horz" pos="188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<Relationships xmlns="http://schemas.openxmlformats.org/package/2006/relationships"><Relationship Id="rId1" Target="../customXml/item1.xml" Type="http://schemas.openxmlformats.org/officeDocument/2006/relationships/customXml"/><Relationship Id="rId10" Target="tags/tag1.xml" Type="http://schemas.openxmlformats.org/officeDocument/2006/relationships/tags"/><Relationship Id="rId11" Target="presProps.xml" Type="http://schemas.openxmlformats.org/officeDocument/2006/relationships/presProps"/><Relationship Id="rId12" Target="viewProps.xml" Type="http://schemas.openxmlformats.org/officeDocument/2006/relationships/viewProps"/><Relationship Id="rId13" Target="theme/theme1.xml" Type="http://schemas.openxmlformats.org/officeDocument/2006/relationships/theme"/><Relationship Id="rId14" Target="tableStyles.xml" Type="http://schemas.openxmlformats.org/officeDocument/2006/relationships/tableStyles"/><Relationship Id="rId15" Target="changesInfos/changesInfo1.xml" Type="http://schemas.microsoft.com/office/2016/11/relationships/changesInfo"/><Relationship Id="rId16" Target="revisionInfo.xml" Type="http://schemas.microsoft.com/office/2015/10/relationships/revisionInfo"/><Relationship Id="rId2" Target="../customXml/item2.xml" Type="http://schemas.openxmlformats.org/officeDocument/2006/relationships/customXml"/><Relationship Id="rId3" Target="../customXml/item3.xml" Type="http://schemas.openxmlformats.org/officeDocument/2006/relationships/customXml"/><Relationship Id="rId4" Target="slideMasters/slideMaster1.xml" Type="http://schemas.openxmlformats.org/officeDocument/2006/relationships/slideMaster"/><Relationship Id="rId5" Target="slides/slide1.xml" Type="http://schemas.openxmlformats.org/officeDocument/2006/relationships/slide"/><Relationship Id="rId6" Target="slides/slide2.xml" Type="http://schemas.openxmlformats.org/officeDocument/2006/relationships/slide"/><Relationship Id="rId7" Target="slides/slide3.xml" Type="http://schemas.openxmlformats.org/officeDocument/2006/relationships/slide"/><Relationship Id="rId8" Target="slides/slide4.xml" Type="http://schemas.openxmlformats.org/officeDocument/2006/relationships/slide"/><Relationship Id="rId9" Target="notesMasters/notesMaster1.xml" Type="http://schemas.openxmlformats.org/officeDocument/2006/relationships/notesMaster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suchida, Shinpei" userId="4375a60a-0653-49e2-ae45-00a92666541c" providerId="ADAL" clId="{D1725743-558E-4D9B-893B-DB62665A1A57}"/>
    <pc:docChg chg="undo custSel addSld delSld modSld sldOrd modSection replTag">
      <pc:chgData name="Tsuchida, Shinpei" userId="4375a60a-0653-49e2-ae45-00a92666541c" providerId="ADAL" clId="{D1725743-558E-4D9B-893B-DB62665A1A57}" dt="2024-03-26T09:15:31.810" v="6234"/>
      <pc:docMkLst>
        <pc:docMk/>
      </pc:docMkLst>
      <pc:sldChg chg="modSp mod">
        <pc:chgData name="Tsuchida, Shinpei" userId="4375a60a-0653-49e2-ae45-00a92666541c" providerId="ADAL" clId="{D1725743-558E-4D9B-893B-DB62665A1A57}" dt="2024-03-24T11:18:40.768" v="5972" actId="20577"/>
        <pc:sldMkLst>
          <pc:docMk/>
          <pc:sldMk cId="2355786622" sldId="2146847413"/>
        </pc:sldMkLst>
        <pc:spChg chg="mod">
          <ac:chgData name="Tsuchida, Shinpei" userId="4375a60a-0653-49e2-ae45-00a92666541c" providerId="ADAL" clId="{D1725743-558E-4D9B-893B-DB62665A1A57}" dt="2024-03-24T11:18:40.768" v="5972" actId="20577"/>
          <ac:spMkLst>
            <pc:docMk/>
            <pc:sldMk cId="2355786622" sldId="2146847413"/>
            <ac:spMk id="2" creationId="{1F2F2840-6B61-4DF2-B42A-EAA99F678FEE}"/>
          </ac:spMkLst>
        </pc:spChg>
      </pc:sldChg>
      <pc:sldChg chg="modSp mod">
        <pc:chgData name="Tsuchida, Shinpei" userId="4375a60a-0653-49e2-ae45-00a92666541c" providerId="ADAL" clId="{D1725743-558E-4D9B-893B-DB62665A1A57}" dt="2024-03-23T13:17:15.758" v="712" actId="14100"/>
        <pc:sldMkLst>
          <pc:docMk/>
          <pc:sldMk cId="1025266864" sldId="2146847545"/>
        </pc:sldMkLst>
        <pc:spChg chg="mod">
          <ac:chgData name="Tsuchida, Shinpei" userId="4375a60a-0653-49e2-ae45-00a92666541c" providerId="ADAL" clId="{D1725743-558E-4D9B-893B-DB62665A1A57}" dt="2024-03-23T13:17:15.758" v="712" actId="14100"/>
          <ac:spMkLst>
            <pc:docMk/>
            <pc:sldMk cId="1025266864" sldId="2146847545"/>
            <ac:spMk id="2" creationId="{98E8395D-EE85-D4E5-8D93-6C38D33D103A}"/>
          </ac:spMkLst>
        </pc:spChg>
      </pc:sldChg>
      <pc:sldChg chg="addSp modSp mod ord">
        <pc:chgData name="Tsuchida, Shinpei" userId="4375a60a-0653-49e2-ae45-00a92666541c" providerId="ADAL" clId="{D1725743-558E-4D9B-893B-DB62665A1A57}" dt="2024-03-24T01:44:59.645" v="1749" actId="1076"/>
        <pc:sldMkLst>
          <pc:docMk/>
          <pc:sldMk cId="429254024" sldId="2146847554"/>
        </pc:sldMkLst>
        <pc:spChg chg="add mod">
          <ac:chgData name="Tsuchida, Shinpei" userId="4375a60a-0653-49e2-ae45-00a92666541c" providerId="ADAL" clId="{D1725743-558E-4D9B-893B-DB62665A1A57}" dt="2024-03-24T01:44:59.645" v="1749" actId="1076"/>
          <ac:spMkLst>
            <pc:docMk/>
            <pc:sldMk cId="429254024" sldId="2146847554"/>
            <ac:spMk id="2" creationId="{6E9B2F69-8E24-7E7E-864A-F20B59DDE6FE}"/>
          </ac:spMkLst>
        </pc:spChg>
        <pc:spChg chg="mod">
          <ac:chgData name="Tsuchida, Shinpei" userId="4375a60a-0653-49e2-ae45-00a92666541c" providerId="ADAL" clId="{D1725743-558E-4D9B-893B-DB62665A1A57}" dt="2024-03-23T13:36:53.192" v="1038" actId="948"/>
          <ac:spMkLst>
            <pc:docMk/>
            <pc:sldMk cId="429254024" sldId="2146847554"/>
            <ac:spMk id="4" creationId="{AD8944B4-3C5B-C988-2185-AC2F7BEC7369}"/>
          </ac:spMkLst>
        </pc:spChg>
        <pc:graphicFrameChg chg="mod">
          <ac:chgData name="Tsuchida, Shinpei" userId="4375a60a-0653-49e2-ae45-00a92666541c" providerId="ADAL" clId="{D1725743-558E-4D9B-893B-DB62665A1A57}" dt="2024-03-23T13:36:53.206" v="1042"/>
          <ac:graphicFrameMkLst>
            <pc:docMk/>
            <pc:sldMk cId="429254024" sldId="2146847554"/>
            <ac:graphicFrameMk id="7" creationId="{DAEF77AD-2CE0-DFBE-F3EE-27BF4407FF6A}"/>
          </ac:graphicFrameMkLst>
        </pc:graphicFrameChg>
      </pc:sldChg>
      <pc:sldChg chg="addSp modSp mod">
        <pc:chgData name="Tsuchida, Shinpei" userId="4375a60a-0653-49e2-ae45-00a92666541c" providerId="ADAL" clId="{D1725743-558E-4D9B-893B-DB62665A1A57}" dt="2024-03-24T01:48:45.477" v="2456" actId="1076"/>
        <pc:sldMkLst>
          <pc:docMk/>
          <pc:sldMk cId="2559321920" sldId="2146847560"/>
        </pc:sldMkLst>
        <pc:spChg chg="add mod">
          <ac:chgData name="Tsuchida, Shinpei" userId="4375a60a-0653-49e2-ae45-00a92666541c" providerId="ADAL" clId="{D1725743-558E-4D9B-893B-DB62665A1A57}" dt="2024-03-24T01:48:43.648" v="2455" actId="1076"/>
          <ac:spMkLst>
            <pc:docMk/>
            <pc:sldMk cId="2559321920" sldId="2146847560"/>
            <ac:spMk id="2" creationId="{F6F33E3D-87C7-489C-D50F-B378A6B34C12}"/>
          </ac:spMkLst>
        </pc:spChg>
        <pc:spChg chg="mod">
          <ac:chgData name="Tsuchida, Shinpei" userId="4375a60a-0653-49e2-ae45-00a92666541c" providerId="ADAL" clId="{D1725743-558E-4D9B-893B-DB62665A1A57}" dt="2024-03-24T01:48:45.477" v="2456" actId="1076"/>
          <ac:spMkLst>
            <pc:docMk/>
            <pc:sldMk cId="2559321920" sldId="2146847560"/>
            <ac:spMk id="7" creationId="{F9ADCEC0-9C74-0C0E-8BCB-03B64B0E9536}"/>
          </ac:spMkLst>
        </pc:spChg>
      </pc:sldChg>
      <pc:sldChg chg="modSp mod">
        <pc:chgData name="Tsuchida, Shinpei" userId="4375a60a-0653-49e2-ae45-00a92666541c" providerId="ADAL" clId="{D1725743-558E-4D9B-893B-DB62665A1A57}" dt="2024-03-24T10:02:11.098" v="5304" actId="20577"/>
        <pc:sldMkLst>
          <pc:docMk/>
          <pc:sldMk cId="693426858" sldId="2146847590"/>
        </pc:sldMkLst>
        <pc:spChg chg="mod">
          <ac:chgData name="Tsuchida, Shinpei" userId="4375a60a-0653-49e2-ae45-00a92666541c" providerId="ADAL" clId="{D1725743-558E-4D9B-893B-DB62665A1A57}" dt="2024-03-24T10:02:11.098" v="5304" actId="20577"/>
          <ac:spMkLst>
            <pc:docMk/>
            <pc:sldMk cId="693426858" sldId="2146847590"/>
            <ac:spMk id="7" creationId="{F0D8E545-A466-48F4-9272-B878EF0DC16B}"/>
          </ac:spMkLst>
        </pc:spChg>
      </pc:sldChg>
      <pc:sldChg chg="addSp modSp mod">
        <pc:chgData name="Tsuchida, Shinpei" userId="4375a60a-0653-49e2-ae45-00a92666541c" providerId="ADAL" clId="{D1725743-558E-4D9B-893B-DB62665A1A57}" dt="2024-03-24T01:45:28.807" v="1807" actId="20577"/>
        <pc:sldMkLst>
          <pc:docMk/>
          <pc:sldMk cId="2766274149" sldId="2146847591"/>
        </pc:sldMkLst>
        <pc:spChg chg="add mod">
          <ac:chgData name="Tsuchida, Shinpei" userId="4375a60a-0653-49e2-ae45-00a92666541c" providerId="ADAL" clId="{D1725743-558E-4D9B-893B-DB62665A1A57}" dt="2024-03-24T01:45:28.807" v="1807" actId="20577"/>
          <ac:spMkLst>
            <pc:docMk/>
            <pc:sldMk cId="2766274149" sldId="2146847591"/>
            <ac:spMk id="3" creationId="{CC34A2F9-677E-A2BD-1DE8-CCC28E4A8300}"/>
          </ac:spMkLst>
        </pc:spChg>
        <pc:spChg chg="add mod">
          <ac:chgData name="Tsuchida, Shinpei" userId="4375a60a-0653-49e2-ae45-00a92666541c" providerId="ADAL" clId="{D1725743-558E-4D9B-893B-DB62665A1A57}" dt="2024-03-24T01:45:21.674" v="1786" actId="20577"/>
          <ac:spMkLst>
            <pc:docMk/>
            <pc:sldMk cId="2766274149" sldId="2146847591"/>
            <ac:spMk id="4" creationId="{9007537D-F927-3642-51DE-8BEF07CF47FF}"/>
          </ac:spMkLst>
        </pc:spChg>
        <pc:spChg chg="mod">
          <ac:chgData name="Tsuchida, Shinpei" userId="4375a60a-0653-49e2-ae45-00a92666541c" providerId="ADAL" clId="{D1725743-558E-4D9B-893B-DB62665A1A57}" dt="2024-03-24T01:45:17.518" v="1777" actId="1076"/>
          <ac:spMkLst>
            <pc:docMk/>
            <pc:sldMk cId="2766274149" sldId="2146847591"/>
            <ac:spMk id="7" creationId="{F0D8E545-A466-48F4-9272-B878EF0DC16B}"/>
          </ac:spMkLst>
        </pc:spChg>
      </pc:sldChg>
      <pc:sldChg chg="addSp modSp mod">
        <pc:chgData name="Tsuchida, Shinpei" userId="4375a60a-0653-49e2-ae45-00a92666541c" providerId="ADAL" clId="{D1725743-558E-4D9B-893B-DB62665A1A57}" dt="2024-03-24T10:04:31.046" v="5515" actId="13926"/>
        <pc:sldMkLst>
          <pc:docMk/>
          <pc:sldMk cId="2962430587" sldId="2146847592"/>
        </pc:sldMkLst>
        <pc:spChg chg="add mod">
          <ac:chgData name="Tsuchida, Shinpei" userId="4375a60a-0653-49e2-ae45-00a92666541c" providerId="ADAL" clId="{D1725743-558E-4D9B-893B-DB62665A1A57}" dt="2024-03-24T10:04:06.787" v="5421" actId="207"/>
          <ac:spMkLst>
            <pc:docMk/>
            <pc:sldMk cId="2962430587" sldId="2146847592"/>
            <ac:spMk id="4" creationId="{AEC73508-2B12-E643-78E1-23E45E2F251F}"/>
          </ac:spMkLst>
        </pc:spChg>
        <pc:spChg chg="mod">
          <ac:chgData name="Tsuchida, Shinpei" userId="4375a60a-0653-49e2-ae45-00a92666541c" providerId="ADAL" clId="{D1725743-558E-4D9B-893B-DB62665A1A57}" dt="2024-03-24T10:04:31.046" v="5515" actId="13926"/>
          <ac:spMkLst>
            <pc:docMk/>
            <pc:sldMk cId="2962430587" sldId="2146847592"/>
            <ac:spMk id="7" creationId="{F0D8E545-A466-48F4-9272-B878EF0DC16B}"/>
          </ac:spMkLst>
        </pc:spChg>
        <pc:spChg chg="mod">
          <ac:chgData name="Tsuchida, Shinpei" userId="4375a60a-0653-49e2-ae45-00a92666541c" providerId="ADAL" clId="{D1725743-558E-4D9B-893B-DB62665A1A57}" dt="2024-03-24T10:02:50.168" v="5307" actId="1076"/>
          <ac:spMkLst>
            <pc:docMk/>
            <pc:sldMk cId="2962430587" sldId="2146847592"/>
            <ac:spMk id="8" creationId="{4322232A-E033-4886-4B85-91FECA59CDF5}"/>
          </ac:spMkLst>
        </pc:spChg>
        <pc:spChg chg="add mod">
          <ac:chgData name="Tsuchida, Shinpei" userId="4375a60a-0653-49e2-ae45-00a92666541c" providerId="ADAL" clId="{D1725743-558E-4D9B-893B-DB62665A1A57}" dt="2024-03-24T10:03:52.391" v="5411" actId="207"/>
          <ac:spMkLst>
            <pc:docMk/>
            <pc:sldMk cId="2962430587" sldId="2146847592"/>
            <ac:spMk id="10" creationId="{E00673A8-ED3D-1992-B93D-3235C05A99F8}"/>
          </ac:spMkLst>
        </pc:spChg>
      </pc:sldChg>
      <pc:sldChg chg="addSp modSp mod">
        <pc:chgData name="Tsuchida, Shinpei" userId="4375a60a-0653-49e2-ae45-00a92666541c" providerId="ADAL" clId="{D1725743-558E-4D9B-893B-DB62665A1A57}" dt="2024-03-24T01:45:44.518" v="1826" actId="20577"/>
        <pc:sldMkLst>
          <pc:docMk/>
          <pc:sldMk cId="454459423" sldId="2146847596"/>
        </pc:sldMkLst>
        <pc:spChg chg="add mod">
          <ac:chgData name="Tsuchida, Shinpei" userId="4375a60a-0653-49e2-ae45-00a92666541c" providerId="ADAL" clId="{D1725743-558E-4D9B-893B-DB62665A1A57}" dt="2024-03-24T01:45:44.518" v="1826" actId="20577"/>
          <ac:spMkLst>
            <pc:docMk/>
            <pc:sldMk cId="454459423" sldId="2146847596"/>
            <ac:spMk id="3" creationId="{1718E0E3-0ED7-F510-E4B5-0069CBC2DB9C}"/>
          </ac:spMkLst>
        </pc:spChg>
      </pc:sldChg>
      <pc:sldChg chg="modSp mod">
        <pc:chgData name="Tsuchida, Shinpei" userId="4375a60a-0653-49e2-ae45-00a92666541c" providerId="ADAL" clId="{D1725743-558E-4D9B-893B-DB62665A1A57}" dt="2024-03-24T09:19:40.478" v="5255" actId="1076"/>
        <pc:sldMkLst>
          <pc:docMk/>
          <pc:sldMk cId="2073688605" sldId="2146847608"/>
        </pc:sldMkLst>
        <pc:spChg chg="mod">
          <ac:chgData name="Tsuchida, Shinpei" userId="4375a60a-0653-49e2-ae45-00a92666541c" providerId="ADAL" clId="{D1725743-558E-4D9B-893B-DB62665A1A57}" dt="2024-03-24T09:19:40.478" v="5255" actId="1076"/>
          <ac:spMkLst>
            <pc:docMk/>
            <pc:sldMk cId="2073688605" sldId="2146847608"/>
            <ac:spMk id="8" creationId="{46402638-2B83-461D-A5AF-34487FA532E1}"/>
          </ac:spMkLst>
        </pc:spChg>
      </pc:sldChg>
      <pc:sldChg chg="mod modShow">
        <pc:chgData name="Tsuchida, Shinpei" userId="4375a60a-0653-49e2-ae45-00a92666541c" providerId="ADAL" clId="{D1725743-558E-4D9B-893B-DB62665A1A57}" dt="2024-03-23T13:39:07.029" v="1071" actId="729"/>
        <pc:sldMkLst>
          <pc:docMk/>
          <pc:sldMk cId="1401715061" sldId="2146847621"/>
        </pc:sldMkLst>
      </pc:sldChg>
      <pc:sldChg chg="mod modShow">
        <pc:chgData name="Tsuchida, Shinpei" userId="4375a60a-0653-49e2-ae45-00a92666541c" providerId="ADAL" clId="{D1725743-558E-4D9B-893B-DB62665A1A57}" dt="2024-03-23T13:37:41.444" v="1070" actId="729"/>
        <pc:sldMkLst>
          <pc:docMk/>
          <pc:sldMk cId="2391146792" sldId="2146847622"/>
        </pc:sldMkLst>
      </pc:sldChg>
      <pc:sldChg chg="mod modShow">
        <pc:chgData name="Tsuchida, Shinpei" userId="4375a60a-0653-49e2-ae45-00a92666541c" providerId="ADAL" clId="{D1725743-558E-4D9B-893B-DB62665A1A57}" dt="2024-03-23T13:37:41.444" v="1070" actId="729"/>
        <pc:sldMkLst>
          <pc:docMk/>
          <pc:sldMk cId="3393070087" sldId="2146847623"/>
        </pc:sldMkLst>
      </pc:sldChg>
      <pc:sldChg chg="mod modShow">
        <pc:chgData name="Tsuchida, Shinpei" userId="4375a60a-0653-49e2-ae45-00a92666541c" providerId="ADAL" clId="{D1725743-558E-4D9B-893B-DB62665A1A57}" dt="2024-03-23T13:37:41.444" v="1070" actId="729"/>
        <pc:sldMkLst>
          <pc:docMk/>
          <pc:sldMk cId="2424482231" sldId="2146847624"/>
        </pc:sldMkLst>
      </pc:sldChg>
      <pc:sldChg chg="addSp modSp mod">
        <pc:chgData name="Tsuchida, Shinpei" userId="4375a60a-0653-49e2-ae45-00a92666541c" providerId="ADAL" clId="{D1725743-558E-4D9B-893B-DB62665A1A57}" dt="2024-03-24T01:43:02.655" v="1515" actId="20577"/>
        <pc:sldMkLst>
          <pc:docMk/>
          <pc:sldMk cId="445871252" sldId="2146847625"/>
        </pc:sldMkLst>
        <pc:spChg chg="add mod">
          <ac:chgData name="Tsuchida, Shinpei" userId="4375a60a-0653-49e2-ae45-00a92666541c" providerId="ADAL" clId="{D1725743-558E-4D9B-893B-DB62665A1A57}" dt="2024-03-24T01:42:58.129" v="1506" actId="20577"/>
          <ac:spMkLst>
            <pc:docMk/>
            <pc:sldMk cId="445871252" sldId="2146847625"/>
            <ac:spMk id="4" creationId="{AE506D56-80F0-47F2-0DE5-4219BE85B18E}"/>
          </ac:spMkLst>
        </pc:spChg>
        <pc:spChg chg="mod">
          <ac:chgData name="Tsuchida, Shinpei" userId="4375a60a-0653-49e2-ae45-00a92666541c" providerId="ADAL" clId="{D1725743-558E-4D9B-893B-DB62665A1A57}" dt="2024-03-23T13:39:43.738" v="1073" actId="1076"/>
          <ac:spMkLst>
            <pc:docMk/>
            <pc:sldMk cId="445871252" sldId="2146847625"/>
            <ac:spMk id="6" creationId="{D0B0D116-FBCC-4FD9-948F-36682F868471}"/>
          </ac:spMkLst>
        </pc:spChg>
        <pc:spChg chg="add mod">
          <ac:chgData name="Tsuchida, Shinpei" userId="4375a60a-0653-49e2-ae45-00a92666541c" providerId="ADAL" clId="{D1725743-558E-4D9B-893B-DB62665A1A57}" dt="2024-03-24T01:43:02.655" v="1515" actId="20577"/>
          <ac:spMkLst>
            <pc:docMk/>
            <pc:sldMk cId="445871252" sldId="2146847625"/>
            <ac:spMk id="9" creationId="{991227FB-4C9A-E248-14FF-66A1DF102BFA}"/>
          </ac:spMkLst>
        </pc:spChg>
      </pc:sldChg>
      <pc:sldChg chg="modSp add mod">
        <pc:chgData name="Tsuchida, Shinpei" userId="4375a60a-0653-49e2-ae45-00a92666541c" providerId="ADAL" clId="{D1725743-558E-4D9B-893B-DB62665A1A57}" dt="2024-03-26T09:15:25.853" v="6232"/>
        <pc:sldMkLst>
          <pc:docMk/>
          <pc:sldMk cId="953263529" sldId="2147377939"/>
        </pc:sldMkLst>
        <pc:spChg chg="mod">
          <ac:chgData name="Tsuchida, Shinpei" userId="4375a60a-0653-49e2-ae45-00a92666541c" providerId="ADAL" clId="{D1725743-558E-4D9B-893B-DB62665A1A57}" dt="2024-03-26T09:15:25.853" v="6232"/>
          <ac:spMkLst>
            <pc:docMk/>
            <pc:sldMk cId="953263529" sldId="2147377939"/>
            <ac:spMk id="2" creationId="{21D2411B-7FA8-59E7-5F38-B0990CCD4A6C}"/>
          </ac:spMkLst>
        </pc:spChg>
      </pc:sldChg>
      <pc:sldChg chg="addSp modSp add del mod">
        <pc:chgData name="Tsuchida, Shinpei" userId="4375a60a-0653-49e2-ae45-00a92666541c" providerId="ADAL" clId="{D1725743-558E-4D9B-893B-DB62665A1A57}" dt="2024-03-26T09:15:14.297" v="6230" actId="2696"/>
        <pc:sldMkLst>
          <pc:docMk/>
          <pc:sldMk cId="2682721128" sldId="2147377939"/>
        </pc:sldMkLst>
        <pc:spChg chg="mod">
          <ac:chgData name="Tsuchida, Shinpei" userId="4375a60a-0653-49e2-ae45-00a92666541c" providerId="ADAL" clId="{D1725743-558E-4D9B-893B-DB62665A1A57}" dt="2024-03-26T09:13:01.723" v="6180" actId="20577"/>
          <ac:spMkLst>
            <pc:docMk/>
            <pc:sldMk cId="2682721128" sldId="2147377939"/>
            <ac:spMk id="2" creationId="{F75318E8-E1FD-F6AB-F9A9-9696D6F22120}"/>
          </ac:spMkLst>
        </pc:spChg>
        <pc:spChg chg="mod">
          <ac:chgData name="Tsuchida, Shinpei" userId="4375a60a-0653-49e2-ae45-00a92666541c" providerId="ADAL" clId="{D1725743-558E-4D9B-893B-DB62665A1A57}" dt="2024-03-26T09:12:50.026" v="6177" actId="108"/>
          <ac:spMkLst>
            <pc:docMk/>
            <pc:sldMk cId="2682721128" sldId="2147377939"/>
            <ac:spMk id="3" creationId="{A92C1985-7CFB-919D-1230-32BBA066364A}"/>
          </ac:spMkLst>
        </pc:spChg>
        <pc:spChg chg="mod">
          <ac:chgData name="Tsuchida, Shinpei" userId="4375a60a-0653-49e2-ae45-00a92666541c" providerId="ADAL" clId="{D1725743-558E-4D9B-893B-DB62665A1A57}" dt="2024-03-26T09:12:50.602" v="6178" actId="108"/>
          <ac:spMkLst>
            <pc:docMk/>
            <pc:sldMk cId="2682721128" sldId="2147377939"/>
            <ac:spMk id="6" creationId="{EA967C1E-A10C-D9A5-E2E9-9C7FBD546D6C}"/>
          </ac:spMkLst>
        </pc:spChg>
        <pc:spChg chg="add mod">
          <ac:chgData name="Tsuchida, Shinpei" userId="4375a60a-0653-49e2-ae45-00a92666541c" providerId="ADAL" clId="{D1725743-558E-4D9B-893B-DB62665A1A57}" dt="2024-03-26T09:13:58.047" v="6227" actId="20577"/>
          <ac:spMkLst>
            <pc:docMk/>
            <pc:sldMk cId="2682721128" sldId="2147377939"/>
            <ac:spMk id="13" creationId="{2361FFD7-38E1-95AB-CB8A-53268DE27EDA}"/>
          </ac:spMkLst>
        </pc:spChg>
      </pc:sldChg>
      <pc:sldChg chg="addSp modSp add del mod">
        <pc:chgData name="Tsuchida, Shinpei" userId="4375a60a-0653-49e2-ae45-00a92666541c" providerId="ADAL" clId="{D1725743-558E-4D9B-893B-DB62665A1A57}" dt="2024-03-26T09:15:14.297" v="6230" actId="2696"/>
        <pc:sldMkLst>
          <pc:docMk/>
          <pc:sldMk cId="403144223" sldId="2147377940"/>
        </pc:sldMkLst>
        <pc:spChg chg="add mod">
          <ac:chgData name="Tsuchida, Shinpei" userId="4375a60a-0653-49e2-ae45-00a92666541c" providerId="ADAL" clId="{D1725743-558E-4D9B-893B-DB62665A1A57}" dt="2024-03-26T09:14:04.370" v="6229"/>
          <ac:spMkLst>
            <pc:docMk/>
            <pc:sldMk cId="403144223" sldId="2147377940"/>
            <ac:spMk id="2" creationId="{5B4BC4ED-505E-AC22-7B68-729A5DBCCA38}"/>
          </ac:spMkLst>
        </pc:spChg>
        <pc:spChg chg="mod">
          <ac:chgData name="Tsuchida, Shinpei" userId="4375a60a-0653-49e2-ae45-00a92666541c" providerId="ADAL" clId="{D1725743-558E-4D9B-893B-DB62665A1A57}" dt="2024-03-26T09:13:07.731" v="6184" actId="20577"/>
          <ac:spMkLst>
            <pc:docMk/>
            <pc:sldMk cId="403144223" sldId="2147377940"/>
            <ac:spMk id="3" creationId="{EFE31B6F-5801-413F-7AC4-AD0D8703F9B8}"/>
          </ac:spMkLst>
        </pc:spChg>
        <pc:spChg chg="mod">
          <ac:chgData name="Tsuchida, Shinpei" userId="4375a60a-0653-49e2-ae45-00a92666541c" providerId="ADAL" clId="{D1725743-558E-4D9B-893B-DB62665A1A57}" dt="2024-03-26T09:12:44.981" v="6174" actId="108"/>
          <ac:spMkLst>
            <pc:docMk/>
            <pc:sldMk cId="403144223" sldId="2147377940"/>
            <ac:spMk id="7" creationId="{7CA5D45C-32ED-DFED-1CEE-E0135FFFCA35}"/>
          </ac:spMkLst>
        </pc:spChg>
      </pc:sldChg>
      <pc:sldChg chg="modSp add mod">
        <pc:chgData name="Tsuchida, Shinpei" userId="4375a60a-0653-49e2-ae45-00a92666541c" providerId="ADAL" clId="{D1725743-558E-4D9B-893B-DB62665A1A57}" dt="2024-03-26T09:15:31.810" v="6234"/>
        <pc:sldMkLst>
          <pc:docMk/>
          <pc:sldMk cId="548282329" sldId="2147377940"/>
        </pc:sldMkLst>
        <pc:spChg chg="mod">
          <ac:chgData name="Tsuchida, Shinpei" userId="4375a60a-0653-49e2-ae45-00a92666541c" providerId="ADAL" clId="{D1725743-558E-4D9B-893B-DB62665A1A57}" dt="2024-03-26T09:15:31.810" v="6234"/>
          <ac:spMkLst>
            <pc:docMk/>
            <pc:sldMk cId="548282329" sldId="2147377940"/>
            <ac:spMk id="3" creationId="{AFFCED03-E06C-0065-9D06-F9E633A2EDE3}"/>
          </ac:spMkLst>
        </pc:spChg>
      </pc:sldChg>
      <pc:sldChg chg="modSp add mod">
        <pc:chgData name="Tsuchida, Shinpei" userId="4375a60a-0653-49e2-ae45-00a92666541c" providerId="ADAL" clId="{D1725743-558E-4D9B-893B-DB62665A1A57}" dt="2024-03-26T09:15:28.966" v="6233"/>
        <pc:sldMkLst>
          <pc:docMk/>
          <pc:sldMk cId="2917258169" sldId="2147377941"/>
        </pc:sldMkLst>
        <pc:spChg chg="mod">
          <ac:chgData name="Tsuchida, Shinpei" userId="4375a60a-0653-49e2-ae45-00a92666541c" providerId="ADAL" clId="{D1725743-558E-4D9B-893B-DB62665A1A57}" dt="2024-03-26T09:15:28.966" v="6233"/>
          <ac:spMkLst>
            <pc:docMk/>
            <pc:sldMk cId="2917258169" sldId="2147377941"/>
            <ac:spMk id="2" creationId="{2CFA4358-C955-E846-F703-BE1184B43345}"/>
          </ac:spMkLst>
        </pc:spChg>
      </pc:sldChg>
      <pc:sldChg chg="addSp modSp add del mod">
        <pc:chgData name="Tsuchida, Shinpei" userId="4375a60a-0653-49e2-ae45-00a92666541c" providerId="ADAL" clId="{D1725743-558E-4D9B-893B-DB62665A1A57}" dt="2024-03-26T09:15:14.297" v="6230" actId="2696"/>
        <pc:sldMkLst>
          <pc:docMk/>
          <pc:sldMk cId="3763088974" sldId="2147377941"/>
        </pc:sldMkLst>
        <pc:spChg chg="mod">
          <ac:chgData name="Tsuchida, Shinpei" userId="4375a60a-0653-49e2-ae45-00a92666541c" providerId="ADAL" clId="{D1725743-558E-4D9B-893B-DB62665A1A57}" dt="2024-03-26T09:13:04.786" v="6182" actId="20577"/>
          <ac:spMkLst>
            <pc:docMk/>
            <pc:sldMk cId="3763088974" sldId="2147377941"/>
            <ac:spMk id="2" creationId="{F75318E8-E1FD-F6AB-F9A9-9696D6F22120}"/>
          </ac:spMkLst>
        </pc:spChg>
        <pc:spChg chg="mod">
          <ac:chgData name="Tsuchida, Shinpei" userId="4375a60a-0653-49e2-ae45-00a92666541c" providerId="ADAL" clId="{D1725743-558E-4D9B-893B-DB62665A1A57}" dt="2024-03-26T09:12:47.307" v="6175" actId="108"/>
          <ac:spMkLst>
            <pc:docMk/>
            <pc:sldMk cId="3763088974" sldId="2147377941"/>
            <ac:spMk id="6" creationId="{35F92740-AA93-35EE-D990-B9F0E8804267}"/>
          </ac:spMkLst>
        </pc:spChg>
        <pc:spChg chg="mod">
          <ac:chgData name="Tsuchida, Shinpei" userId="4375a60a-0653-49e2-ae45-00a92666541c" providerId="ADAL" clId="{D1725743-558E-4D9B-893B-DB62665A1A57}" dt="2024-03-26T09:12:48.153" v="6176" actId="108"/>
          <ac:spMkLst>
            <pc:docMk/>
            <pc:sldMk cId="3763088974" sldId="2147377941"/>
            <ac:spMk id="13" creationId="{CD4E1C80-B68E-A485-89B5-1275253BEA41}"/>
          </ac:spMkLst>
        </pc:spChg>
        <pc:spChg chg="add mod">
          <ac:chgData name="Tsuchida, Shinpei" userId="4375a60a-0653-49e2-ae45-00a92666541c" providerId="ADAL" clId="{D1725743-558E-4D9B-893B-DB62665A1A57}" dt="2024-03-26T09:14:03.875" v="6228"/>
          <ac:spMkLst>
            <pc:docMk/>
            <pc:sldMk cId="3763088974" sldId="2147377941"/>
            <ac:spMk id="14" creationId="{FC36EAB9-58FA-3A80-49BE-F0D0A3259334}"/>
          </ac:spMkLst>
        </pc:spChg>
      </pc:sldChg>
      <pc:sldChg chg="addSp modSp mod">
        <pc:chgData name="Tsuchida, Shinpei" userId="4375a60a-0653-49e2-ae45-00a92666541c" providerId="ADAL" clId="{D1725743-558E-4D9B-893B-DB62665A1A57}" dt="2024-03-24T01:47:01.588" v="2053" actId="14100"/>
        <pc:sldMkLst>
          <pc:docMk/>
          <pc:sldMk cId="2852443830" sldId="2147378632"/>
        </pc:sldMkLst>
        <pc:spChg chg="add mod">
          <ac:chgData name="Tsuchida, Shinpei" userId="4375a60a-0653-49e2-ae45-00a92666541c" providerId="ADAL" clId="{D1725743-558E-4D9B-893B-DB62665A1A57}" dt="2024-03-24T01:47:01.588" v="2053" actId="14100"/>
          <ac:spMkLst>
            <pc:docMk/>
            <pc:sldMk cId="2852443830" sldId="2147378632"/>
            <ac:spMk id="3" creationId="{4B3CE172-D199-01B5-37C0-A7F49A5FC9A9}"/>
          </ac:spMkLst>
        </pc:spChg>
      </pc:sldChg>
      <pc:sldChg chg="mod modShow">
        <pc:chgData name="Tsuchida, Shinpei" userId="4375a60a-0653-49e2-ae45-00a92666541c" providerId="ADAL" clId="{D1725743-558E-4D9B-893B-DB62665A1A57}" dt="2024-03-23T13:33:51.955" v="881" actId="729"/>
        <pc:sldMkLst>
          <pc:docMk/>
          <pc:sldMk cId="1188370737" sldId="2147378642"/>
        </pc:sldMkLst>
      </pc:sldChg>
      <pc:sldChg chg="addSp delSp modSp add mod">
        <pc:chgData name="Tsuchida, Shinpei" userId="4375a60a-0653-49e2-ae45-00a92666541c" providerId="ADAL" clId="{D1725743-558E-4D9B-893B-DB62665A1A57}" dt="2024-03-24T10:11:14.622" v="5944" actId="1076"/>
        <pc:sldMkLst>
          <pc:docMk/>
          <pc:sldMk cId="1805811011" sldId="2147378643"/>
        </pc:sldMkLst>
        <pc:spChg chg="add mod">
          <ac:chgData name="Tsuchida, Shinpei" userId="4375a60a-0653-49e2-ae45-00a92666541c" providerId="ADAL" clId="{D1725743-558E-4D9B-893B-DB62665A1A57}" dt="2024-03-24T01:44:48.993" v="1748" actId="20577"/>
          <ac:spMkLst>
            <pc:docMk/>
            <pc:sldMk cId="1805811011" sldId="2147378643"/>
            <ac:spMk id="3" creationId="{2B47DAB3-CE80-8ABF-3197-237049204C09}"/>
          </ac:spMkLst>
        </pc:spChg>
        <pc:spChg chg="mod">
          <ac:chgData name="Tsuchida, Shinpei" userId="4375a60a-0653-49e2-ae45-00a92666541c" providerId="ADAL" clId="{D1725743-558E-4D9B-893B-DB62665A1A57}" dt="2024-03-24T10:11:14.622" v="5944" actId="1076"/>
          <ac:spMkLst>
            <pc:docMk/>
            <pc:sldMk cId="1805811011" sldId="2147378643"/>
            <ac:spMk id="4" creationId="{78A6158B-C9C8-BC24-B780-F2E8C3167CB7}"/>
          </ac:spMkLst>
        </pc:spChg>
        <pc:spChg chg="del mod">
          <ac:chgData name="Tsuchida, Shinpei" userId="4375a60a-0653-49e2-ae45-00a92666541c" providerId="ADAL" clId="{D1725743-558E-4D9B-893B-DB62665A1A57}" dt="2024-03-23T13:02:21.268" v="48" actId="21"/>
          <ac:spMkLst>
            <pc:docMk/>
            <pc:sldMk cId="1805811011" sldId="2147378643"/>
            <ac:spMk id="7" creationId="{222C1F65-A6E5-C874-BDE7-97EE38DA79D2}"/>
          </ac:spMkLst>
        </pc:spChg>
        <pc:spChg chg="mod">
          <ac:chgData name="Tsuchida, Shinpei" userId="4375a60a-0653-49e2-ae45-00a92666541c" providerId="ADAL" clId="{D1725743-558E-4D9B-893B-DB62665A1A57}" dt="2024-03-23T13:01:03.613" v="19" actId="948"/>
          <ac:spMkLst>
            <pc:docMk/>
            <pc:sldMk cId="1805811011" sldId="2147378643"/>
            <ac:spMk id="9" creationId="{AE399A2B-7760-B687-0FFA-C43A562B0500}"/>
          </ac:spMkLst>
        </pc:spChg>
        <pc:graphicFrameChg chg="mod">
          <ac:chgData name="Tsuchida, Shinpei" userId="4375a60a-0653-49e2-ae45-00a92666541c" providerId="ADAL" clId="{D1725743-558E-4D9B-893B-DB62665A1A57}" dt="2024-03-23T13:01:03.621" v="23"/>
          <ac:graphicFrameMkLst>
            <pc:docMk/>
            <pc:sldMk cId="1805811011" sldId="2147378643"/>
            <ac:graphicFrameMk id="5" creationId="{C2B6F089-FB91-CDC8-7303-932DF8BCCE89}"/>
          </ac:graphicFrameMkLst>
        </pc:graphicFrameChg>
        <pc:graphicFrameChg chg="modGraphic">
          <ac:chgData name="Tsuchida, Shinpei" userId="4375a60a-0653-49e2-ae45-00a92666541c" providerId="ADAL" clId="{D1725743-558E-4D9B-893B-DB62665A1A57}" dt="2024-03-24T10:11:10.969" v="5943" actId="20577"/>
          <ac:graphicFrameMkLst>
            <pc:docMk/>
            <pc:sldMk cId="1805811011" sldId="2147378643"/>
            <ac:graphicFrameMk id="13" creationId="{50E9E96A-FD26-603D-DD3F-FD8D762A7EBB}"/>
          </ac:graphicFrameMkLst>
        </pc:graphicFrameChg>
      </pc:sldChg>
      <pc:sldChg chg="addSp modSp new mod">
        <pc:chgData name="Tsuchida, Shinpei" userId="4375a60a-0653-49e2-ae45-00a92666541c" providerId="ADAL" clId="{D1725743-558E-4D9B-893B-DB62665A1A57}" dt="2024-03-24T04:59:47.019" v="3723"/>
        <pc:sldMkLst>
          <pc:docMk/>
          <pc:sldMk cId="4186158384" sldId="2147378644"/>
        </pc:sldMkLst>
        <pc:spChg chg="mod">
          <ac:chgData name="Tsuchida, Shinpei" userId="4375a60a-0653-49e2-ae45-00a92666541c" providerId="ADAL" clId="{D1725743-558E-4D9B-893B-DB62665A1A57}" dt="2024-03-24T04:57:41.150" v="3534" actId="14100"/>
          <ac:spMkLst>
            <pc:docMk/>
            <pc:sldMk cId="4186158384" sldId="2147378644"/>
            <ac:spMk id="5" creationId="{5929DA61-9492-16C6-77EC-2F6154CAB4D5}"/>
          </ac:spMkLst>
        </pc:spChg>
        <pc:spChg chg="add mod">
          <ac:chgData name="Tsuchida, Shinpei" userId="4375a60a-0653-49e2-ae45-00a92666541c" providerId="ADAL" clId="{D1725743-558E-4D9B-893B-DB62665A1A57}" dt="2024-03-24T04:58:53.602" v="3716" actId="1076"/>
          <ac:spMkLst>
            <pc:docMk/>
            <pc:sldMk cId="4186158384" sldId="2147378644"/>
            <ac:spMk id="7" creationId="{222C1F65-A6E5-C874-BDE7-97EE38DA79D2}"/>
          </ac:spMkLst>
        </pc:spChg>
        <pc:spChg chg="mod">
          <ac:chgData name="Tsuchida, Shinpei" userId="4375a60a-0653-49e2-ae45-00a92666541c" providerId="ADAL" clId="{D1725743-558E-4D9B-893B-DB62665A1A57}" dt="2024-03-24T04:57:41.150" v="3534" actId="14100"/>
          <ac:spMkLst>
            <pc:docMk/>
            <pc:sldMk cId="4186158384" sldId="2147378644"/>
            <ac:spMk id="16" creationId="{D82731B7-5750-703C-4B7E-BF51E0DCA3F7}"/>
          </ac:spMkLst>
        </pc:spChg>
        <pc:spChg chg="mod">
          <ac:chgData name="Tsuchida, Shinpei" userId="4375a60a-0653-49e2-ae45-00a92666541c" providerId="ADAL" clId="{D1725743-558E-4D9B-893B-DB62665A1A57}" dt="2024-03-24T04:59:27.239" v="3721" actId="1076"/>
          <ac:spMkLst>
            <pc:docMk/>
            <pc:sldMk cId="4186158384" sldId="2147378644"/>
            <ac:spMk id="17" creationId="{86F0F3BA-31D5-CB5F-DAA4-6F832E98B5D6}"/>
          </ac:spMkLst>
        </pc:spChg>
        <pc:spChg chg="add mod">
          <ac:chgData name="Tsuchida, Shinpei" userId="4375a60a-0653-49e2-ae45-00a92666541c" providerId="ADAL" clId="{D1725743-558E-4D9B-893B-DB62665A1A57}" dt="2024-03-24T04:58:19.229" v="3660" actId="20577"/>
          <ac:spMkLst>
            <pc:docMk/>
            <pc:sldMk cId="4186158384" sldId="2147378644"/>
            <ac:spMk id="23" creationId="{3B4E9364-AA14-FAB0-8D8D-7AB72E4B3A4A}"/>
          </ac:spMkLst>
        </pc:spChg>
        <pc:spChg chg="add mod">
          <ac:chgData name="Tsuchida, Shinpei" userId="4375a60a-0653-49e2-ae45-00a92666541c" providerId="ADAL" clId="{D1725743-558E-4D9B-893B-DB62665A1A57}" dt="2024-03-24T04:58:51.353" v="3715" actId="1076"/>
          <ac:spMkLst>
            <pc:docMk/>
            <pc:sldMk cId="4186158384" sldId="2147378644"/>
            <ac:spMk id="24" creationId="{6812ECF5-219C-F96E-DC34-885D07A885CB}"/>
          </ac:spMkLst>
        </pc:spChg>
        <pc:spChg chg="add mod">
          <ac:chgData name="Tsuchida, Shinpei" userId="4375a60a-0653-49e2-ae45-00a92666541c" providerId="ADAL" clId="{D1725743-558E-4D9B-893B-DB62665A1A57}" dt="2024-03-24T04:58:39.872" v="3714" actId="20577"/>
          <ac:spMkLst>
            <pc:docMk/>
            <pc:sldMk cId="4186158384" sldId="2147378644"/>
            <ac:spMk id="25" creationId="{2C4F13DB-EF49-E9D8-5C50-FFD25408D991}"/>
          </ac:spMkLst>
        </pc:spChg>
        <pc:graphicFrameChg chg="mod">
          <ac:chgData name="Tsuchida, Shinpei" userId="4375a60a-0653-49e2-ae45-00a92666541c" providerId="ADAL" clId="{D1725743-558E-4D9B-893B-DB62665A1A57}" dt="2024-03-24T04:59:47.019" v="3723"/>
          <ac:graphicFrameMkLst>
            <pc:docMk/>
            <pc:sldMk cId="4186158384" sldId="2147378644"/>
            <ac:graphicFrameMk id="15" creationId="{2D8B9F62-5640-DA60-72EA-D3AA0A3EC839}"/>
          </ac:graphicFrameMkLst>
        </pc:graphicFrameChg>
      </pc:sldChg>
      <pc:sldChg chg="modSp add mod">
        <pc:chgData name="Tsuchida, Shinpei" userId="4375a60a-0653-49e2-ae45-00a92666541c" providerId="ADAL" clId="{D1725743-558E-4D9B-893B-DB62665A1A57}" dt="2024-03-24T02:05:53.768" v="2785" actId="20577"/>
        <pc:sldMkLst>
          <pc:docMk/>
          <pc:sldMk cId="2061620207" sldId="2147378645"/>
        </pc:sldMkLst>
        <pc:spChg chg="mod">
          <ac:chgData name="Tsuchida, Shinpei" userId="4375a60a-0653-49e2-ae45-00a92666541c" providerId="ADAL" clId="{D1725743-558E-4D9B-893B-DB62665A1A57}" dt="2024-03-24T02:05:53.768" v="2785" actId="20577"/>
          <ac:spMkLst>
            <pc:docMk/>
            <pc:sldMk cId="2061620207" sldId="2147378645"/>
            <ac:spMk id="7" creationId="{8BB312B7-7ECB-4407-2E77-9D084C0D0C8D}"/>
          </ac:spMkLst>
        </pc:spChg>
      </pc:sldChg>
      <pc:sldChg chg="addSp delSp modSp add mod ord modShow">
        <pc:chgData name="Tsuchida, Shinpei" userId="4375a60a-0653-49e2-ae45-00a92666541c" providerId="ADAL" clId="{D1725743-558E-4D9B-893B-DB62665A1A57}" dt="2024-03-24T04:29:56.434" v="3293" actId="729"/>
        <pc:sldMkLst>
          <pc:docMk/>
          <pc:sldMk cId="3796097863" sldId="2147378646"/>
        </pc:sldMkLst>
        <pc:spChg chg="mod">
          <ac:chgData name="Tsuchida, Shinpei" userId="4375a60a-0653-49e2-ae45-00a92666541c" providerId="ADAL" clId="{D1725743-558E-4D9B-893B-DB62665A1A57}" dt="2024-03-23T13:15:20.486" v="669" actId="6549"/>
          <ac:spMkLst>
            <pc:docMk/>
            <pc:sldMk cId="3796097863" sldId="2147378646"/>
            <ac:spMk id="2" creationId="{1B788690-C2BF-F8FD-3BBE-0F6B8C149C1A}"/>
          </ac:spMkLst>
        </pc:spChg>
        <pc:spChg chg="add mod">
          <ac:chgData name="Tsuchida, Shinpei" userId="4375a60a-0653-49e2-ae45-00a92666541c" providerId="ADAL" clId="{D1725743-558E-4D9B-893B-DB62665A1A57}" dt="2024-03-24T01:49:03.004" v="2491" actId="20577"/>
          <ac:spMkLst>
            <pc:docMk/>
            <pc:sldMk cId="3796097863" sldId="2147378646"/>
            <ac:spMk id="3" creationId="{ECBB1B18-6E48-A741-52DD-AE2FF2CF5F79}"/>
          </ac:spMkLst>
        </pc:spChg>
        <pc:spChg chg="del mod">
          <ac:chgData name="Tsuchida, Shinpei" userId="4375a60a-0653-49e2-ae45-00a92666541c" providerId="ADAL" clId="{D1725743-558E-4D9B-893B-DB62665A1A57}" dt="2024-03-23T13:15:27.225" v="672" actId="478"/>
          <ac:spMkLst>
            <pc:docMk/>
            <pc:sldMk cId="3796097863" sldId="2147378646"/>
            <ac:spMk id="8" creationId="{F73BFDA0-44F9-477D-EE50-13BBEB0FD3C3}"/>
          </ac:spMkLst>
        </pc:spChg>
        <pc:spChg chg="mod">
          <ac:chgData name="Tsuchida, Shinpei" userId="4375a60a-0653-49e2-ae45-00a92666541c" providerId="ADAL" clId="{D1725743-558E-4D9B-893B-DB62665A1A57}" dt="2024-03-23T13:15:17.579" v="664" actId="948"/>
          <ac:spMkLst>
            <pc:docMk/>
            <pc:sldMk cId="3796097863" sldId="2147378646"/>
            <ac:spMk id="9" creationId="{1207C47B-0ADD-C172-B831-B0397BB0922C}"/>
          </ac:spMkLst>
        </pc:spChg>
        <pc:graphicFrameChg chg="mod">
          <ac:chgData name="Tsuchida, Shinpei" userId="4375a60a-0653-49e2-ae45-00a92666541c" providerId="ADAL" clId="{D1725743-558E-4D9B-893B-DB62665A1A57}" dt="2024-03-23T13:15:17.590" v="668"/>
          <ac:graphicFrameMkLst>
            <pc:docMk/>
            <pc:sldMk cId="3796097863" sldId="2147378646"/>
            <ac:graphicFrameMk id="5" creationId="{ECB48993-7F99-46F0-531C-022782C08D20}"/>
          </ac:graphicFrameMkLst>
        </pc:graphicFrameChg>
      </pc:sldChg>
      <pc:sldChg chg="new del">
        <pc:chgData name="Tsuchida, Shinpei" userId="4375a60a-0653-49e2-ae45-00a92666541c" providerId="ADAL" clId="{D1725743-558E-4D9B-893B-DB62665A1A57}" dt="2024-03-23T13:15:08.368" v="626" actId="47"/>
        <pc:sldMkLst>
          <pc:docMk/>
          <pc:sldMk cId="3855407929" sldId="2147378646"/>
        </pc:sldMkLst>
      </pc:sldChg>
      <pc:sldChg chg="addSp modSp add mod">
        <pc:chgData name="Tsuchida, Shinpei" userId="4375a60a-0653-49e2-ae45-00a92666541c" providerId="ADAL" clId="{D1725743-558E-4D9B-893B-DB62665A1A57}" dt="2024-03-24T01:43:21.563" v="1563" actId="20577"/>
        <pc:sldMkLst>
          <pc:docMk/>
          <pc:sldMk cId="873808501" sldId="2147378647"/>
        </pc:sldMkLst>
        <pc:spChg chg="add mod">
          <ac:chgData name="Tsuchida, Shinpei" userId="4375a60a-0653-49e2-ae45-00a92666541c" providerId="ADAL" clId="{D1725743-558E-4D9B-893B-DB62665A1A57}" dt="2024-03-24T01:43:21.563" v="1563" actId="20577"/>
          <ac:spMkLst>
            <pc:docMk/>
            <pc:sldMk cId="873808501" sldId="2147378647"/>
            <ac:spMk id="2" creationId="{3D216995-FBE2-CDF8-2529-C6EB21D71159}"/>
          </ac:spMkLst>
        </pc:spChg>
      </pc:sldChg>
      <pc:sldChg chg="addSp delSp modSp new mod">
        <pc:chgData name="Tsuchida, Shinpei" userId="4375a60a-0653-49e2-ae45-00a92666541c" providerId="ADAL" clId="{D1725743-558E-4D9B-893B-DB62665A1A57}" dt="2024-03-24T15:49:05.872" v="6172" actId="1076"/>
        <pc:sldMkLst>
          <pc:docMk/>
          <pc:sldMk cId="2998465411" sldId="2147378648"/>
        </pc:sldMkLst>
        <pc:spChg chg="add mod">
          <ac:chgData name="Tsuchida, Shinpei" userId="4375a60a-0653-49e2-ae45-00a92666541c" providerId="ADAL" clId="{D1725743-558E-4D9B-893B-DB62665A1A57}" dt="2024-03-24T15:49:05.872" v="6172" actId="1076"/>
          <ac:spMkLst>
            <pc:docMk/>
            <pc:sldMk cId="2998465411" sldId="2147378648"/>
            <ac:spMk id="5" creationId="{2D5EA78A-6461-7E3B-1B64-172FF89181D2}"/>
          </ac:spMkLst>
        </pc:spChg>
        <pc:spChg chg="add del mod">
          <ac:chgData name="Tsuchida, Shinpei" userId="4375a60a-0653-49e2-ae45-00a92666541c" providerId="ADAL" clId="{D1725743-558E-4D9B-893B-DB62665A1A57}" dt="2024-03-24T15:48:57.481" v="6168" actId="478"/>
          <ac:spMkLst>
            <pc:docMk/>
            <pc:sldMk cId="2998465411" sldId="2147378648"/>
            <ac:spMk id="7" creationId="{F3D32066-A6D2-6921-AA7E-455488126595}"/>
          </ac:spMkLst>
        </pc:spChg>
        <pc:graphicFrameChg chg="mod modGraphic">
          <ac:chgData name="Tsuchida, Shinpei" userId="4375a60a-0653-49e2-ae45-00a92666541c" providerId="ADAL" clId="{D1725743-558E-4D9B-893B-DB62665A1A57}" dt="2024-03-24T15:47:43.119" v="6008" actId="20577"/>
          <ac:graphicFrameMkLst>
            <pc:docMk/>
            <pc:sldMk cId="2998465411" sldId="2147378648"/>
            <ac:graphicFrameMk id="8" creationId="{6BB7A498-4C84-2FEA-ED42-9455CEFC31A6}"/>
          </ac:graphicFrameMkLst>
        </pc:graphicFrameChg>
      </pc:sldChg>
      <pc:sldChg chg="addSp modSp new mod">
        <pc:chgData name="Tsuchida, Shinpei" userId="4375a60a-0653-49e2-ae45-00a92666541c" providerId="ADAL" clId="{D1725743-558E-4D9B-893B-DB62665A1A57}" dt="2024-03-24T04:05:27.894" v="2927" actId="14100"/>
        <pc:sldMkLst>
          <pc:docMk/>
          <pc:sldMk cId="128044781" sldId="2147378649"/>
        </pc:sldMkLst>
        <pc:spChg chg="add mod">
          <ac:chgData name="Tsuchida, Shinpei" userId="4375a60a-0653-49e2-ae45-00a92666541c" providerId="ADAL" clId="{D1725743-558E-4D9B-893B-DB62665A1A57}" dt="2024-03-24T04:05:27.894" v="2927" actId="14100"/>
          <ac:spMkLst>
            <pc:docMk/>
            <pc:sldMk cId="128044781" sldId="2147378649"/>
            <ac:spMk id="5" creationId="{64D9EFCF-5556-C67C-43C3-1B21791BAA3B}"/>
          </ac:spMkLst>
        </pc:spChg>
      </pc:sldChg>
      <pc:sldChg chg="del">
        <pc:chgData name="Tsuchida, Shinpei" userId="4375a60a-0653-49e2-ae45-00a92666541c" providerId="ADAL" clId="{D1725743-558E-4D9B-893B-DB62665A1A57}" dt="2024-03-24T04:05:36.329" v="2928" actId="47"/>
        <pc:sldMkLst>
          <pc:docMk/>
          <pc:sldMk cId="1802116569" sldId="2147378649"/>
        </pc:sldMkLst>
      </pc:sldChg>
      <pc:sldChg chg="addSp modSp mod">
        <pc:chgData name="Tsuchida, Shinpei" userId="4375a60a-0653-49e2-ae45-00a92666541c" providerId="ADAL" clId="{D1725743-558E-4D9B-893B-DB62665A1A57}" dt="2024-03-24T04:31:08.697" v="3530" actId="14100"/>
        <pc:sldMkLst>
          <pc:docMk/>
          <pc:sldMk cId="128044781" sldId="2147378650"/>
        </pc:sldMkLst>
        <pc:spChg chg="mod">
          <ac:chgData name="Tsuchida, Shinpei" userId="4375a60a-0653-49e2-ae45-00a92666541c" providerId="ADAL" clId="{D1725743-558E-4D9B-893B-DB62665A1A57}" dt="2024-03-24T04:05:48.287" v="2991" actId="948"/>
          <ac:spMkLst>
            <pc:docMk/>
            <pc:sldMk cId="128044781" sldId="2147378650"/>
            <ac:spMk id="4" creationId="{EE939D36-9C1A-E1D5-9C69-61295C1D2A20}"/>
          </ac:spMkLst>
        </pc:spChg>
        <pc:spChg chg="mod">
          <ac:chgData name="Tsuchida, Shinpei" userId="4375a60a-0653-49e2-ae45-00a92666541c" providerId="ADAL" clId="{D1725743-558E-4D9B-893B-DB62665A1A57}" dt="2024-03-24T04:28:12.192" v="3289" actId="14100"/>
          <ac:spMkLst>
            <pc:docMk/>
            <pc:sldMk cId="128044781" sldId="2147378650"/>
            <ac:spMk id="5" creationId="{64D9EFCF-5556-C67C-43C3-1B21791BAA3B}"/>
          </ac:spMkLst>
        </pc:spChg>
        <pc:spChg chg="add mod">
          <ac:chgData name="Tsuchida, Shinpei" userId="4375a60a-0653-49e2-ae45-00a92666541c" providerId="ADAL" clId="{D1725743-558E-4D9B-893B-DB62665A1A57}" dt="2024-03-24T04:09:43.641" v="3038" actId="1076"/>
          <ac:spMkLst>
            <pc:docMk/>
            <pc:sldMk cId="128044781" sldId="2147378650"/>
            <ac:spMk id="7" creationId="{5F2F6995-ED34-BC12-C7D1-423BB0605684}"/>
          </ac:spMkLst>
        </pc:spChg>
        <pc:spChg chg="add mod">
          <ac:chgData name="Tsuchida, Shinpei" userId="4375a60a-0653-49e2-ae45-00a92666541c" providerId="ADAL" clId="{D1725743-558E-4D9B-893B-DB62665A1A57}" dt="2024-03-24T04:09:43.641" v="3038" actId="1076"/>
          <ac:spMkLst>
            <pc:docMk/>
            <pc:sldMk cId="128044781" sldId="2147378650"/>
            <ac:spMk id="8" creationId="{68F72CB9-8E09-254A-6143-095430315A93}"/>
          </ac:spMkLst>
        </pc:spChg>
        <pc:spChg chg="add mod">
          <ac:chgData name="Tsuchida, Shinpei" userId="4375a60a-0653-49e2-ae45-00a92666541c" providerId="ADAL" clId="{D1725743-558E-4D9B-893B-DB62665A1A57}" dt="2024-03-24T04:09:43.641" v="3038" actId="1076"/>
          <ac:spMkLst>
            <pc:docMk/>
            <pc:sldMk cId="128044781" sldId="2147378650"/>
            <ac:spMk id="9" creationId="{DCF1BF44-1C79-A7D2-D4EC-DF06E66AEB8B}"/>
          </ac:spMkLst>
        </pc:spChg>
        <pc:spChg chg="add mod">
          <ac:chgData name="Tsuchida, Shinpei" userId="4375a60a-0653-49e2-ae45-00a92666541c" providerId="ADAL" clId="{D1725743-558E-4D9B-893B-DB62665A1A57}" dt="2024-03-24T04:09:43.641" v="3038" actId="1076"/>
          <ac:spMkLst>
            <pc:docMk/>
            <pc:sldMk cId="128044781" sldId="2147378650"/>
            <ac:spMk id="10" creationId="{371A09B2-09AE-FD92-D602-1123981A28C2}"/>
          </ac:spMkLst>
        </pc:spChg>
        <pc:spChg chg="add mod">
          <ac:chgData name="Tsuchida, Shinpei" userId="4375a60a-0653-49e2-ae45-00a92666541c" providerId="ADAL" clId="{D1725743-558E-4D9B-893B-DB62665A1A57}" dt="2024-03-24T04:09:43.641" v="3038" actId="1076"/>
          <ac:spMkLst>
            <pc:docMk/>
            <pc:sldMk cId="128044781" sldId="2147378650"/>
            <ac:spMk id="11" creationId="{139F3379-CD7B-574E-98ED-EE839BC6FA6F}"/>
          </ac:spMkLst>
        </pc:spChg>
        <pc:spChg chg="add mod">
          <ac:chgData name="Tsuchida, Shinpei" userId="4375a60a-0653-49e2-ae45-00a92666541c" providerId="ADAL" clId="{D1725743-558E-4D9B-893B-DB62665A1A57}" dt="2024-03-24T04:09:40.727" v="3037" actId="571"/>
          <ac:spMkLst>
            <pc:docMk/>
            <pc:sldMk cId="128044781" sldId="2147378650"/>
            <ac:spMk id="12" creationId="{2D43A44B-D0ED-1E3F-BA14-CA59A22CC6E2}"/>
          </ac:spMkLst>
        </pc:spChg>
        <pc:spChg chg="add mod">
          <ac:chgData name="Tsuchida, Shinpei" userId="4375a60a-0653-49e2-ae45-00a92666541c" providerId="ADAL" clId="{D1725743-558E-4D9B-893B-DB62665A1A57}" dt="2024-03-24T04:09:40.727" v="3037" actId="571"/>
          <ac:spMkLst>
            <pc:docMk/>
            <pc:sldMk cId="128044781" sldId="2147378650"/>
            <ac:spMk id="13" creationId="{4713BDEA-09AC-995E-E32C-7418CDE84F2A}"/>
          </ac:spMkLst>
        </pc:spChg>
        <pc:spChg chg="add mod">
          <ac:chgData name="Tsuchida, Shinpei" userId="4375a60a-0653-49e2-ae45-00a92666541c" providerId="ADAL" clId="{D1725743-558E-4D9B-893B-DB62665A1A57}" dt="2024-03-24T04:09:40.727" v="3037" actId="571"/>
          <ac:spMkLst>
            <pc:docMk/>
            <pc:sldMk cId="128044781" sldId="2147378650"/>
            <ac:spMk id="14" creationId="{E5D5FED5-B2CD-6AAE-26BF-0966571480FE}"/>
          </ac:spMkLst>
        </pc:spChg>
        <pc:spChg chg="add mod">
          <ac:chgData name="Tsuchida, Shinpei" userId="4375a60a-0653-49e2-ae45-00a92666541c" providerId="ADAL" clId="{D1725743-558E-4D9B-893B-DB62665A1A57}" dt="2024-03-24T04:09:40.727" v="3037" actId="571"/>
          <ac:spMkLst>
            <pc:docMk/>
            <pc:sldMk cId="128044781" sldId="2147378650"/>
            <ac:spMk id="15" creationId="{EDB2F35A-B918-073E-0C6E-A77194E8C6F2}"/>
          </ac:spMkLst>
        </pc:spChg>
        <pc:spChg chg="add mod">
          <ac:chgData name="Tsuchida, Shinpei" userId="4375a60a-0653-49e2-ae45-00a92666541c" providerId="ADAL" clId="{D1725743-558E-4D9B-893B-DB62665A1A57}" dt="2024-03-24T04:09:40.727" v="3037" actId="571"/>
          <ac:spMkLst>
            <pc:docMk/>
            <pc:sldMk cId="128044781" sldId="2147378650"/>
            <ac:spMk id="16" creationId="{31EC28A6-1435-A013-8EA4-6D7164494F11}"/>
          </ac:spMkLst>
        </pc:spChg>
        <pc:spChg chg="add mod">
          <ac:chgData name="Tsuchida, Shinpei" userId="4375a60a-0653-49e2-ae45-00a92666541c" providerId="ADAL" clId="{D1725743-558E-4D9B-893B-DB62665A1A57}" dt="2024-03-24T04:20:18.478" v="3276" actId="14100"/>
          <ac:spMkLst>
            <pc:docMk/>
            <pc:sldMk cId="128044781" sldId="2147378650"/>
            <ac:spMk id="17" creationId="{0C3DF9A1-8E2F-3C85-0802-186D8B052020}"/>
          </ac:spMkLst>
        </pc:spChg>
        <pc:spChg chg="add mod">
          <ac:chgData name="Tsuchida, Shinpei" userId="4375a60a-0653-49e2-ae45-00a92666541c" providerId="ADAL" clId="{D1725743-558E-4D9B-893B-DB62665A1A57}" dt="2024-03-24T04:20:18.478" v="3276" actId="14100"/>
          <ac:spMkLst>
            <pc:docMk/>
            <pc:sldMk cId="128044781" sldId="2147378650"/>
            <ac:spMk id="18" creationId="{DB143C2D-15F5-1A5C-50BC-2891DE912276}"/>
          </ac:spMkLst>
        </pc:spChg>
        <pc:spChg chg="add mod">
          <ac:chgData name="Tsuchida, Shinpei" userId="4375a60a-0653-49e2-ae45-00a92666541c" providerId="ADAL" clId="{D1725743-558E-4D9B-893B-DB62665A1A57}" dt="2024-03-24T04:20:18.478" v="3276" actId="14100"/>
          <ac:spMkLst>
            <pc:docMk/>
            <pc:sldMk cId="128044781" sldId="2147378650"/>
            <ac:spMk id="19" creationId="{D00447BF-13FE-CEB3-D3F0-DB50E0D922A3}"/>
          </ac:spMkLst>
        </pc:spChg>
        <pc:spChg chg="add mod">
          <ac:chgData name="Tsuchida, Shinpei" userId="4375a60a-0653-49e2-ae45-00a92666541c" providerId="ADAL" clId="{D1725743-558E-4D9B-893B-DB62665A1A57}" dt="2024-03-24T04:20:18.478" v="3276" actId="14100"/>
          <ac:spMkLst>
            <pc:docMk/>
            <pc:sldMk cId="128044781" sldId="2147378650"/>
            <ac:spMk id="20" creationId="{066D0BB7-1B6F-5F3F-506D-F8A459454E34}"/>
          </ac:spMkLst>
        </pc:spChg>
        <pc:spChg chg="add mod">
          <ac:chgData name="Tsuchida, Shinpei" userId="4375a60a-0653-49e2-ae45-00a92666541c" providerId="ADAL" clId="{D1725743-558E-4D9B-893B-DB62665A1A57}" dt="2024-03-24T04:20:18.478" v="3276" actId="14100"/>
          <ac:spMkLst>
            <pc:docMk/>
            <pc:sldMk cId="128044781" sldId="2147378650"/>
            <ac:spMk id="21" creationId="{7663E85C-3D68-7CBD-BB6B-9C9C62DFA17A}"/>
          </ac:spMkLst>
        </pc:spChg>
        <pc:spChg chg="add mod">
          <ac:chgData name="Tsuchida, Shinpei" userId="4375a60a-0653-49e2-ae45-00a92666541c" providerId="ADAL" clId="{D1725743-558E-4D9B-893B-DB62665A1A57}" dt="2024-03-24T04:28:21.347" v="3292" actId="20577"/>
          <ac:spMkLst>
            <pc:docMk/>
            <pc:sldMk cId="128044781" sldId="2147378650"/>
            <ac:spMk id="22" creationId="{263B637B-7094-4C9D-CB8F-5CE7473F80BF}"/>
          </ac:spMkLst>
        </pc:spChg>
        <pc:spChg chg="add mod">
          <ac:chgData name="Tsuchida, Shinpei" userId="4375a60a-0653-49e2-ae45-00a92666541c" providerId="ADAL" clId="{D1725743-558E-4D9B-893B-DB62665A1A57}" dt="2024-03-24T04:20:26.231" v="3278" actId="14100"/>
          <ac:spMkLst>
            <pc:docMk/>
            <pc:sldMk cId="128044781" sldId="2147378650"/>
            <ac:spMk id="23" creationId="{5F75D7CE-5F5C-5360-407E-8F1C92A39668}"/>
          </ac:spMkLst>
        </pc:spChg>
        <pc:spChg chg="add mod">
          <ac:chgData name="Tsuchida, Shinpei" userId="4375a60a-0653-49e2-ae45-00a92666541c" providerId="ADAL" clId="{D1725743-558E-4D9B-893B-DB62665A1A57}" dt="2024-03-24T04:20:26.231" v="3278" actId="14100"/>
          <ac:spMkLst>
            <pc:docMk/>
            <pc:sldMk cId="128044781" sldId="2147378650"/>
            <ac:spMk id="24" creationId="{1BD360EA-7E67-0F0F-FEF5-1105A4FC4957}"/>
          </ac:spMkLst>
        </pc:spChg>
        <pc:spChg chg="add mod">
          <ac:chgData name="Tsuchida, Shinpei" userId="4375a60a-0653-49e2-ae45-00a92666541c" providerId="ADAL" clId="{D1725743-558E-4D9B-893B-DB62665A1A57}" dt="2024-03-24T04:20:26.231" v="3278" actId="14100"/>
          <ac:spMkLst>
            <pc:docMk/>
            <pc:sldMk cId="128044781" sldId="2147378650"/>
            <ac:spMk id="25" creationId="{C025AC64-B653-8DF7-5567-2CCD7F5A4842}"/>
          </ac:spMkLst>
        </pc:spChg>
        <pc:spChg chg="add mod">
          <ac:chgData name="Tsuchida, Shinpei" userId="4375a60a-0653-49e2-ae45-00a92666541c" providerId="ADAL" clId="{D1725743-558E-4D9B-893B-DB62665A1A57}" dt="2024-03-24T04:20:26.231" v="3278" actId="14100"/>
          <ac:spMkLst>
            <pc:docMk/>
            <pc:sldMk cId="128044781" sldId="2147378650"/>
            <ac:spMk id="26" creationId="{F3DE1FF1-EAA5-1BF3-604D-270ED24F1227}"/>
          </ac:spMkLst>
        </pc:spChg>
        <pc:spChg chg="add mod">
          <ac:chgData name="Tsuchida, Shinpei" userId="4375a60a-0653-49e2-ae45-00a92666541c" providerId="ADAL" clId="{D1725743-558E-4D9B-893B-DB62665A1A57}" dt="2024-03-24T04:20:36.408" v="3288" actId="14100"/>
          <ac:spMkLst>
            <pc:docMk/>
            <pc:sldMk cId="128044781" sldId="2147378650"/>
            <ac:spMk id="27" creationId="{DEF20B9B-DCAB-9BD9-9E37-8531337B3E1D}"/>
          </ac:spMkLst>
        </pc:spChg>
        <pc:spChg chg="add mod">
          <ac:chgData name="Tsuchida, Shinpei" userId="4375a60a-0653-49e2-ae45-00a92666541c" providerId="ADAL" clId="{D1725743-558E-4D9B-893B-DB62665A1A57}" dt="2024-03-24T04:20:36.408" v="3288" actId="14100"/>
          <ac:spMkLst>
            <pc:docMk/>
            <pc:sldMk cId="128044781" sldId="2147378650"/>
            <ac:spMk id="28" creationId="{C5AB2DEF-58E9-FFDA-B948-85B871F01584}"/>
          </ac:spMkLst>
        </pc:spChg>
        <pc:spChg chg="add mod">
          <ac:chgData name="Tsuchida, Shinpei" userId="4375a60a-0653-49e2-ae45-00a92666541c" providerId="ADAL" clId="{D1725743-558E-4D9B-893B-DB62665A1A57}" dt="2024-03-24T04:20:36.408" v="3288" actId="14100"/>
          <ac:spMkLst>
            <pc:docMk/>
            <pc:sldMk cId="128044781" sldId="2147378650"/>
            <ac:spMk id="29" creationId="{93695E8A-6507-1A61-5830-059FFE28E338}"/>
          </ac:spMkLst>
        </pc:spChg>
        <pc:spChg chg="add mod">
          <ac:chgData name="Tsuchida, Shinpei" userId="4375a60a-0653-49e2-ae45-00a92666541c" providerId="ADAL" clId="{D1725743-558E-4D9B-893B-DB62665A1A57}" dt="2024-03-24T04:20:36.408" v="3288" actId="14100"/>
          <ac:spMkLst>
            <pc:docMk/>
            <pc:sldMk cId="128044781" sldId="2147378650"/>
            <ac:spMk id="30" creationId="{5CA9EF39-A382-637E-E690-F6E6C3E38550}"/>
          </ac:spMkLst>
        </pc:spChg>
        <pc:spChg chg="add mod">
          <ac:chgData name="Tsuchida, Shinpei" userId="4375a60a-0653-49e2-ae45-00a92666541c" providerId="ADAL" clId="{D1725743-558E-4D9B-893B-DB62665A1A57}" dt="2024-03-24T04:20:36.408" v="3288" actId="14100"/>
          <ac:spMkLst>
            <pc:docMk/>
            <pc:sldMk cId="128044781" sldId="2147378650"/>
            <ac:spMk id="31" creationId="{EC318247-48E6-6824-ECE3-A467E2DCC7A6}"/>
          </ac:spMkLst>
        </pc:spChg>
        <pc:spChg chg="add mod">
          <ac:chgData name="Tsuchida, Shinpei" userId="4375a60a-0653-49e2-ae45-00a92666541c" providerId="ADAL" clId="{D1725743-558E-4D9B-893B-DB62665A1A57}" dt="2024-03-24T04:11:48.933" v="3200" actId="20577"/>
          <ac:spMkLst>
            <pc:docMk/>
            <pc:sldMk cId="128044781" sldId="2147378650"/>
            <ac:spMk id="32" creationId="{FF0B8435-D959-54D8-1DF9-23C00B906D30}"/>
          </ac:spMkLst>
        </pc:spChg>
        <pc:spChg chg="add mod">
          <ac:chgData name="Tsuchida, Shinpei" userId="4375a60a-0653-49e2-ae45-00a92666541c" providerId="ADAL" clId="{D1725743-558E-4D9B-893B-DB62665A1A57}" dt="2024-03-24T04:31:08.697" v="3530" actId="14100"/>
          <ac:spMkLst>
            <pc:docMk/>
            <pc:sldMk cId="128044781" sldId="2147378650"/>
            <ac:spMk id="35" creationId="{C49DEDD9-3A61-A50F-999D-0B06234EBD4E}"/>
          </ac:spMkLst>
        </pc:spChg>
        <pc:grpChg chg="add mod">
          <ac:chgData name="Tsuchida, Shinpei" userId="4375a60a-0653-49e2-ae45-00a92666541c" providerId="ADAL" clId="{D1725743-558E-4D9B-893B-DB62665A1A57}" dt="2024-03-24T04:11:41.918" v="3194" actId="14100"/>
          <ac:grpSpMkLst>
            <pc:docMk/>
            <pc:sldMk cId="128044781" sldId="2147378650"/>
            <ac:grpSpMk id="34" creationId="{0FA49C46-EA98-8D09-B5F8-C36CD9242961}"/>
          </ac:grpSpMkLst>
        </pc:grpChg>
        <pc:graphicFrameChg chg="add mod ord modVis replST">
          <ac:chgData name="Tsuchida, Shinpei" userId="4375a60a-0653-49e2-ae45-00a92666541c" providerId="ADAL" clId="{D1725743-558E-4D9B-893B-DB62665A1A57}" dt="2024-03-24T04:05:48.525" v="3008"/>
          <ac:graphicFrameMkLst>
            <pc:docMk/>
            <pc:sldMk cId="128044781" sldId="2147378650"/>
            <ac:graphicFrameMk id="6" creationId="{5D252BC9-62AE-D737-64B4-909F97A853A3}"/>
          </ac:graphicFrameMkLst>
        </pc:graphicFrameChg>
        <pc:cxnChg chg="add mod">
          <ac:chgData name="Tsuchida, Shinpei" userId="4375a60a-0653-49e2-ae45-00a92666541c" providerId="ADAL" clId="{D1725743-558E-4D9B-893B-DB62665A1A57}" dt="2024-03-24T04:11:41.918" v="3194" actId="14100"/>
          <ac:cxnSpMkLst>
            <pc:docMk/>
            <pc:sldMk cId="128044781" sldId="2147378650"/>
            <ac:cxnSpMk id="33" creationId="{D4D1B8DD-3F53-BB74-D7A7-EABC342A9291}"/>
          </ac:cxnSpMkLst>
        </pc:cxnChg>
      </pc:sldChg>
      <pc:sldChg chg="del mod ord modShow">
        <pc:chgData name="Tsuchida, Shinpei" userId="4375a60a-0653-49e2-ae45-00a92666541c" providerId="ADAL" clId="{D1725743-558E-4D9B-893B-DB62665A1A57}" dt="2024-03-24T11:18:32.159" v="5969" actId="47"/>
        <pc:sldMkLst>
          <pc:docMk/>
          <pc:sldMk cId="3657893772" sldId="2147378650"/>
        </pc:sldMkLst>
      </pc:sldChg>
      <pc:sldChg chg="addSp delSp modSp add mod">
        <pc:chgData name="Tsuchida, Shinpei" userId="4375a60a-0653-49e2-ae45-00a92666541c" providerId="ADAL" clId="{D1725743-558E-4D9B-893B-DB62665A1A57}" dt="2024-03-24T09:27:08.890" v="5257" actId="20577"/>
        <pc:sldMkLst>
          <pc:docMk/>
          <pc:sldMk cId="1132711422" sldId="2147378657"/>
        </pc:sldMkLst>
        <pc:spChg chg="mod">
          <ac:chgData name="Tsuchida, Shinpei" userId="4375a60a-0653-49e2-ae45-00a92666541c" providerId="ADAL" clId="{D1725743-558E-4D9B-893B-DB62665A1A57}" dt="2024-03-24T09:12:43.053" v="5096" actId="20577"/>
          <ac:spMkLst>
            <pc:docMk/>
            <pc:sldMk cId="1132711422" sldId="2147378657"/>
            <ac:spMk id="2" creationId="{A89627E6-1381-E3A4-FE8B-A4EB0C783D38}"/>
          </ac:spMkLst>
        </pc:spChg>
        <pc:spChg chg="mod">
          <ac:chgData name="Tsuchida, Shinpei" userId="4375a60a-0653-49e2-ae45-00a92666541c" providerId="ADAL" clId="{D1725743-558E-4D9B-893B-DB62665A1A57}" dt="2024-03-24T09:19:04.096" v="5204" actId="948"/>
          <ac:spMkLst>
            <pc:docMk/>
            <pc:sldMk cId="1132711422" sldId="2147378657"/>
            <ac:spMk id="4" creationId="{DD1CA6AB-0B11-22AF-99A0-D4CD074A0CDA}"/>
          </ac:spMkLst>
        </pc:spChg>
        <pc:spChg chg="add mod">
          <ac:chgData name="Tsuchida, Shinpei" userId="4375a60a-0653-49e2-ae45-00a92666541c" providerId="ADAL" clId="{D1725743-558E-4D9B-893B-DB62665A1A57}" dt="2024-03-24T09:17:54.555" v="5181" actId="1076"/>
          <ac:spMkLst>
            <pc:docMk/>
            <pc:sldMk cId="1132711422" sldId="2147378657"/>
            <ac:spMk id="7" creationId="{A3DE1F2F-7DEA-175E-70F3-5E51A2EA182C}"/>
          </ac:spMkLst>
        </pc:spChg>
        <pc:spChg chg="add mod">
          <ac:chgData name="Tsuchida, Shinpei" userId="4375a60a-0653-49e2-ae45-00a92666541c" providerId="ADAL" clId="{D1725743-558E-4D9B-893B-DB62665A1A57}" dt="2024-03-24T09:27:08.890" v="5257" actId="20577"/>
          <ac:spMkLst>
            <pc:docMk/>
            <pc:sldMk cId="1132711422" sldId="2147378657"/>
            <ac:spMk id="8" creationId="{E7704DA5-DF2F-7F4D-34A1-F765535560C4}"/>
          </ac:spMkLst>
        </pc:spChg>
        <pc:spChg chg="add mod">
          <ac:chgData name="Tsuchida, Shinpei" userId="4375a60a-0653-49e2-ae45-00a92666541c" providerId="ADAL" clId="{D1725743-558E-4D9B-893B-DB62665A1A57}" dt="2024-03-24T09:17:28.908" v="5174" actId="208"/>
          <ac:spMkLst>
            <pc:docMk/>
            <pc:sldMk cId="1132711422" sldId="2147378657"/>
            <ac:spMk id="9" creationId="{53D2D85B-0EE7-5015-B34D-3FBFB6DD64C3}"/>
          </ac:spMkLst>
        </pc:spChg>
        <pc:spChg chg="add mod">
          <ac:chgData name="Tsuchida, Shinpei" userId="4375a60a-0653-49e2-ae45-00a92666541c" providerId="ADAL" clId="{D1725743-558E-4D9B-893B-DB62665A1A57}" dt="2024-03-24T09:18:24.699" v="5198" actId="1076"/>
          <ac:spMkLst>
            <pc:docMk/>
            <pc:sldMk cId="1132711422" sldId="2147378657"/>
            <ac:spMk id="10" creationId="{D5D8E8B6-FE6E-86B7-D441-2EA1FA53EF98}"/>
          </ac:spMkLst>
        </pc:spChg>
        <pc:grpChg chg="del">
          <ac:chgData name="Tsuchida, Shinpei" userId="4375a60a-0653-49e2-ae45-00a92666541c" providerId="ADAL" clId="{D1725743-558E-4D9B-893B-DB62665A1A57}" dt="2024-03-24T07:51:31.020" v="3725" actId="478"/>
          <ac:grpSpMkLst>
            <pc:docMk/>
            <pc:sldMk cId="1132711422" sldId="2147378657"/>
            <ac:grpSpMk id="15" creationId="{C7B0CAE0-5827-4A53-B2D3-56DF70E7239C}"/>
          </ac:grpSpMkLst>
        </pc:grpChg>
        <pc:graphicFrameChg chg="mod">
          <ac:chgData name="Tsuchida, Shinpei" userId="4375a60a-0653-49e2-ae45-00a92666541c" providerId="ADAL" clId="{D1725743-558E-4D9B-893B-DB62665A1A57}" dt="2024-03-24T09:19:04.111" v="5208"/>
          <ac:graphicFrameMkLst>
            <pc:docMk/>
            <pc:sldMk cId="1132711422" sldId="2147378657"/>
            <ac:graphicFrameMk id="6" creationId="{1E8C9B9F-8072-E0E4-77B7-420C6D2F965B}"/>
          </ac:graphicFrameMkLst>
        </pc:graphicFrameChg>
        <pc:graphicFrameChg chg="mod modGraphic">
          <ac:chgData name="Tsuchida, Shinpei" userId="4375a60a-0653-49e2-ae45-00a92666541c" providerId="ADAL" clId="{D1725743-558E-4D9B-893B-DB62665A1A57}" dt="2024-03-24T09:06:42.846" v="4771" actId="14734"/>
          <ac:graphicFrameMkLst>
            <pc:docMk/>
            <pc:sldMk cId="1132711422" sldId="2147378657"/>
            <ac:graphicFrameMk id="13" creationId="{6B84DF48-8B2E-7483-E19E-A4C36C91AA03}"/>
          </ac:graphicFrameMkLst>
        </pc:graphicFrameChg>
      </pc:sldChg>
      <pc:sldChg chg="addSp delSp modSp new del mod">
        <pc:chgData name="Tsuchida, Shinpei" userId="4375a60a-0653-49e2-ae45-00a92666541c" providerId="ADAL" clId="{D1725743-558E-4D9B-893B-DB62665A1A57}" dt="2024-03-24T08:21:24.544" v="4176" actId="47"/>
        <pc:sldMkLst>
          <pc:docMk/>
          <pc:sldMk cId="1895751458" sldId="2147378658"/>
        </pc:sldMkLst>
        <pc:spChg chg="add mod">
          <ac:chgData name="Tsuchida, Shinpei" userId="4375a60a-0653-49e2-ae45-00a92666541c" providerId="ADAL" clId="{D1725743-558E-4D9B-893B-DB62665A1A57}" dt="2024-03-24T08:11:57.544" v="4076" actId="20577"/>
          <ac:spMkLst>
            <pc:docMk/>
            <pc:sldMk cId="1895751458" sldId="2147378658"/>
            <ac:spMk id="5" creationId="{3908F8AB-69E4-CF8B-2080-537BC6118D68}"/>
          </ac:spMkLst>
        </pc:spChg>
        <pc:spChg chg="add mod">
          <ac:chgData name="Tsuchida, Shinpei" userId="4375a60a-0653-49e2-ae45-00a92666541c" providerId="ADAL" clId="{D1725743-558E-4D9B-893B-DB62665A1A57}" dt="2024-03-24T08:12:21.378" v="4118" actId="14100"/>
          <ac:spMkLst>
            <pc:docMk/>
            <pc:sldMk cId="1895751458" sldId="2147378658"/>
            <ac:spMk id="8" creationId="{55AD452A-21CA-11EB-5C37-01C17E4F32B7}"/>
          </ac:spMkLst>
        </pc:spChg>
        <pc:spChg chg="add mod">
          <ac:chgData name="Tsuchida, Shinpei" userId="4375a60a-0653-49e2-ae45-00a92666541c" providerId="ADAL" clId="{D1725743-558E-4D9B-893B-DB62665A1A57}" dt="2024-03-24T08:11:47.151" v="4068" actId="165"/>
          <ac:spMkLst>
            <pc:docMk/>
            <pc:sldMk cId="1895751458" sldId="2147378658"/>
            <ac:spMk id="11" creationId="{BD265D69-DEA9-8E9E-38B4-0D2D891C0DD1}"/>
          </ac:spMkLst>
        </pc:spChg>
        <pc:spChg chg="add mod">
          <ac:chgData name="Tsuchida, Shinpei" userId="4375a60a-0653-49e2-ae45-00a92666541c" providerId="ADAL" clId="{D1725743-558E-4D9B-893B-DB62665A1A57}" dt="2024-03-24T08:13:10.265" v="4150" actId="20577"/>
          <ac:spMkLst>
            <pc:docMk/>
            <pc:sldMk cId="1895751458" sldId="2147378658"/>
            <ac:spMk id="14" creationId="{F748B8B1-BD49-2CE4-BE7A-0657C5B4C05D}"/>
          </ac:spMkLst>
        </pc:spChg>
        <pc:spChg chg="add mod">
          <ac:chgData name="Tsuchida, Shinpei" userId="4375a60a-0653-49e2-ae45-00a92666541c" providerId="ADAL" clId="{D1725743-558E-4D9B-893B-DB62665A1A57}" dt="2024-03-24T08:12:40.510" v="4134" actId="20577"/>
          <ac:spMkLst>
            <pc:docMk/>
            <pc:sldMk cId="1895751458" sldId="2147378658"/>
            <ac:spMk id="17" creationId="{F93B0465-A2EF-B28D-E54E-FEF4EA858359}"/>
          </ac:spMkLst>
        </pc:spChg>
        <pc:spChg chg="add">
          <ac:chgData name="Tsuchida, Shinpei" userId="4375a60a-0653-49e2-ae45-00a92666541c" providerId="ADAL" clId="{D1725743-558E-4D9B-893B-DB62665A1A57}" dt="2024-03-24T08:13:20.683" v="4151" actId="11529"/>
          <ac:spMkLst>
            <pc:docMk/>
            <pc:sldMk cId="1895751458" sldId="2147378658"/>
            <ac:spMk id="21" creationId="{65EA1F59-E7A2-9BD1-1D43-15349A94E742}"/>
          </ac:spMkLst>
        </pc:spChg>
        <pc:grpChg chg="add mod topLvl">
          <ac:chgData name="Tsuchida, Shinpei" userId="4375a60a-0653-49e2-ae45-00a92666541c" providerId="ADAL" clId="{D1725743-558E-4D9B-893B-DB62665A1A57}" dt="2024-03-24T08:11:54.991" v="4069" actId="14100"/>
          <ac:grpSpMkLst>
            <pc:docMk/>
            <pc:sldMk cId="1895751458" sldId="2147378658"/>
            <ac:grpSpMk id="7" creationId="{ECDC8BBE-9928-073A-C4FA-9C7DFEC8445D}"/>
          </ac:grpSpMkLst>
        </pc:grpChg>
        <pc:grpChg chg="add mod topLvl">
          <ac:chgData name="Tsuchida, Shinpei" userId="4375a60a-0653-49e2-ae45-00a92666541c" providerId="ADAL" clId="{D1725743-558E-4D9B-893B-DB62665A1A57}" dt="2024-03-24T08:12:21.378" v="4118" actId="14100"/>
          <ac:grpSpMkLst>
            <pc:docMk/>
            <pc:sldMk cId="1895751458" sldId="2147378658"/>
            <ac:grpSpMk id="10" creationId="{95BB6E37-3742-0D84-25C4-2BCC7BCB0D30}"/>
          </ac:grpSpMkLst>
        </pc:grpChg>
        <pc:grpChg chg="add del mod topLvl">
          <ac:chgData name="Tsuchida, Shinpei" userId="4375a60a-0653-49e2-ae45-00a92666541c" providerId="ADAL" clId="{D1725743-558E-4D9B-893B-DB62665A1A57}" dt="2024-03-24T08:12:17.656" v="4117" actId="478"/>
          <ac:grpSpMkLst>
            <pc:docMk/>
            <pc:sldMk cId="1895751458" sldId="2147378658"/>
            <ac:grpSpMk id="13" creationId="{B6C50320-23C0-6E59-6BF7-CBB5DA42263E}"/>
          </ac:grpSpMkLst>
        </pc:grpChg>
        <pc:grpChg chg="add mod topLvl">
          <ac:chgData name="Tsuchida, Shinpei" userId="4375a60a-0653-49e2-ae45-00a92666541c" providerId="ADAL" clId="{D1725743-558E-4D9B-893B-DB62665A1A57}" dt="2024-03-24T08:12:27.762" v="4120"/>
          <ac:grpSpMkLst>
            <pc:docMk/>
            <pc:sldMk cId="1895751458" sldId="2147378658"/>
            <ac:grpSpMk id="16" creationId="{CA488960-0D5C-308F-E8C2-DE57C53A6C64}"/>
          </ac:grpSpMkLst>
        </pc:grpChg>
        <pc:grpChg chg="add mod topLvl">
          <ac:chgData name="Tsuchida, Shinpei" userId="4375a60a-0653-49e2-ae45-00a92666541c" providerId="ADAL" clId="{D1725743-558E-4D9B-893B-DB62665A1A57}" dt="2024-03-24T08:12:37.088" v="4121" actId="14100"/>
          <ac:grpSpMkLst>
            <pc:docMk/>
            <pc:sldMk cId="1895751458" sldId="2147378658"/>
            <ac:grpSpMk id="19" creationId="{2882A3D1-780E-725C-964C-EE131E096E90}"/>
          </ac:grpSpMkLst>
        </pc:grpChg>
        <pc:grpChg chg="add del mod">
          <ac:chgData name="Tsuchida, Shinpei" userId="4375a60a-0653-49e2-ae45-00a92666541c" providerId="ADAL" clId="{D1725743-558E-4D9B-893B-DB62665A1A57}" dt="2024-03-24T08:11:47.151" v="4068" actId="165"/>
          <ac:grpSpMkLst>
            <pc:docMk/>
            <pc:sldMk cId="1895751458" sldId="2147378658"/>
            <ac:grpSpMk id="20" creationId="{895CBD9F-A406-01D4-9968-8D0A64EB7FCE}"/>
          </ac:grpSpMkLst>
        </pc:grpChg>
        <pc:cxnChg chg="add mod">
          <ac:chgData name="Tsuchida, Shinpei" userId="4375a60a-0653-49e2-ae45-00a92666541c" providerId="ADAL" clId="{D1725743-558E-4D9B-893B-DB62665A1A57}" dt="2024-03-24T08:11:54.991" v="4069" actId="14100"/>
          <ac:cxnSpMkLst>
            <pc:docMk/>
            <pc:sldMk cId="1895751458" sldId="2147378658"/>
            <ac:cxnSpMk id="6" creationId="{2CCAD249-0F7E-3E0B-AB21-5CABA989E5DC}"/>
          </ac:cxnSpMkLst>
        </pc:cxnChg>
        <pc:cxnChg chg="add mod">
          <ac:chgData name="Tsuchida, Shinpei" userId="4375a60a-0653-49e2-ae45-00a92666541c" providerId="ADAL" clId="{D1725743-558E-4D9B-893B-DB62665A1A57}" dt="2024-03-24T08:12:21.378" v="4118" actId="14100"/>
          <ac:cxnSpMkLst>
            <pc:docMk/>
            <pc:sldMk cId="1895751458" sldId="2147378658"/>
            <ac:cxnSpMk id="9" creationId="{7DBE6269-61FE-80D4-C82B-704DBB1325B8}"/>
          </ac:cxnSpMkLst>
        </pc:cxnChg>
        <pc:cxnChg chg="add mod">
          <ac:chgData name="Tsuchida, Shinpei" userId="4375a60a-0653-49e2-ae45-00a92666541c" providerId="ADAL" clId="{D1725743-558E-4D9B-893B-DB62665A1A57}" dt="2024-03-24T08:11:47.151" v="4068" actId="165"/>
          <ac:cxnSpMkLst>
            <pc:docMk/>
            <pc:sldMk cId="1895751458" sldId="2147378658"/>
            <ac:cxnSpMk id="12" creationId="{02984DAA-7C03-6D6F-29BC-3C9B8461431E}"/>
          </ac:cxnSpMkLst>
        </pc:cxnChg>
        <pc:cxnChg chg="add mod">
          <ac:chgData name="Tsuchida, Shinpei" userId="4375a60a-0653-49e2-ae45-00a92666541c" providerId="ADAL" clId="{D1725743-558E-4D9B-893B-DB62665A1A57}" dt="2024-03-24T08:12:27.762" v="4120"/>
          <ac:cxnSpMkLst>
            <pc:docMk/>
            <pc:sldMk cId="1895751458" sldId="2147378658"/>
            <ac:cxnSpMk id="15" creationId="{0907D243-2B50-E04D-8BF9-7026BCAFD2F3}"/>
          </ac:cxnSpMkLst>
        </pc:cxnChg>
        <pc:cxnChg chg="add mod">
          <ac:chgData name="Tsuchida, Shinpei" userId="4375a60a-0653-49e2-ae45-00a92666541c" providerId="ADAL" clId="{D1725743-558E-4D9B-893B-DB62665A1A57}" dt="2024-03-24T08:12:37.088" v="4121" actId="14100"/>
          <ac:cxnSpMkLst>
            <pc:docMk/>
            <pc:sldMk cId="1895751458" sldId="2147378658"/>
            <ac:cxnSpMk id="18" creationId="{5A789B80-1A13-E949-62CA-C2FD151574AE}"/>
          </ac:cxnSpMkLst>
        </pc:cxnChg>
      </pc:sldChg>
      <pc:sldMasterChg chg="delSldLayout">
        <pc:chgData name="Tsuchida, Shinpei" userId="4375a60a-0653-49e2-ae45-00a92666541c" providerId="ADAL" clId="{D1725743-558E-4D9B-893B-DB62665A1A57}" dt="2024-03-26T09:15:14.297" v="6230" actId="2696"/>
        <pc:sldMasterMkLst>
          <pc:docMk/>
          <pc:sldMasterMk cId="2162003807" sldId="2147483755"/>
        </pc:sldMasterMkLst>
        <pc:sldLayoutChg chg="del">
          <pc:chgData name="Tsuchida, Shinpei" userId="4375a60a-0653-49e2-ae45-00a92666541c" providerId="ADAL" clId="{D1725743-558E-4D9B-893B-DB62665A1A57}" dt="2024-03-26T09:15:14.297" v="6230" actId="2696"/>
          <pc:sldLayoutMkLst>
            <pc:docMk/>
            <pc:sldMasterMk cId="2162003807" sldId="2147483755"/>
            <pc:sldLayoutMk cId="4133569810" sldId="2147483808"/>
          </pc:sldLayoutMkLst>
        </pc:sldLayoutChg>
      </pc:sldMasterChg>
    </pc:docChg>
  </pc:docChgLst>
  <pc:docChgLst>
    <pc:chgData name="Masuda, Akihito" userId="e1ea6b8a-a5ff-4bfd-8576-9598cb6e892c" providerId="ADAL" clId="{A6B3FEFB-7D96-4BDB-87B3-BC7C8C08982D}"/>
    <pc:docChg chg="undo custSel modSld">
      <pc:chgData name="Masuda, Akihito" userId="e1ea6b8a-a5ff-4bfd-8576-9598cb6e892c" providerId="ADAL" clId="{A6B3FEFB-7D96-4BDB-87B3-BC7C8C08982D}" dt="2024-03-23T13:34:23.134" v="9"/>
      <pc:docMkLst>
        <pc:docMk/>
      </pc:docMkLst>
      <pc:sldChg chg="modSp mod">
        <pc:chgData name="Masuda, Akihito" userId="e1ea6b8a-a5ff-4bfd-8576-9598cb6e892c" providerId="ADAL" clId="{A6B3FEFB-7D96-4BDB-87B3-BC7C8C08982D}" dt="2024-03-23T12:58:16.358" v="0" actId="1076"/>
        <pc:sldMkLst>
          <pc:docMk/>
          <pc:sldMk cId="2088699351" sldId="2146847588"/>
        </pc:sldMkLst>
        <pc:spChg chg="mod">
          <ac:chgData name="Masuda, Akihito" userId="e1ea6b8a-a5ff-4bfd-8576-9598cb6e892c" providerId="ADAL" clId="{A6B3FEFB-7D96-4BDB-87B3-BC7C8C08982D}" dt="2024-03-23T12:58:16.358" v="0" actId="1076"/>
          <ac:spMkLst>
            <pc:docMk/>
            <pc:sldMk cId="2088699351" sldId="2146847588"/>
            <ac:spMk id="7" creationId="{F0D8E545-A466-48F4-9272-B878EF0DC16B}"/>
          </ac:spMkLst>
        </pc:spChg>
      </pc:sldChg>
      <pc:sldChg chg="modSp mod">
        <pc:chgData name="Masuda, Akihito" userId="e1ea6b8a-a5ff-4bfd-8576-9598cb6e892c" providerId="ADAL" clId="{A6B3FEFB-7D96-4BDB-87B3-BC7C8C08982D}" dt="2024-03-23T13:34:23.134" v="9"/>
        <pc:sldMkLst>
          <pc:docMk/>
          <pc:sldMk cId="2766274149" sldId="2146847591"/>
        </pc:sldMkLst>
        <pc:spChg chg="mod">
          <ac:chgData name="Masuda, Akihito" userId="e1ea6b8a-a5ff-4bfd-8576-9598cb6e892c" providerId="ADAL" clId="{A6B3FEFB-7D96-4BDB-87B3-BC7C8C08982D}" dt="2024-03-23T13:31:49.511" v="7" actId="1076"/>
          <ac:spMkLst>
            <pc:docMk/>
            <pc:sldMk cId="2766274149" sldId="2146847591"/>
            <ac:spMk id="7" creationId="{F0D8E545-A466-48F4-9272-B878EF0DC16B}"/>
          </ac:spMkLst>
        </pc:spChg>
        <pc:graphicFrameChg chg="mod">
          <ac:chgData name="Masuda, Akihito" userId="e1ea6b8a-a5ff-4bfd-8576-9598cb6e892c" providerId="ADAL" clId="{A6B3FEFB-7D96-4BDB-87B3-BC7C8C08982D}" dt="2024-03-23T13:34:23.134" v="9"/>
          <ac:graphicFrameMkLst>
            <pc:docMk/>
            <pc:sldMk cId="2766274149" sldId="2146847591"/>
            <ac:graphicFrameMk id="5" creationId="{E78F9D36-5310-41D4-8608-5BFFDB0F22CA}"/>
          </ac:graphicFrameMkLst>
        </pc:graphicFrameChg>
      </pc:sldChg>
      <pc:sldChg chg="modSp mod">
        <pc:chgData name="Masuda, Akihito" userId="e1ea6b8a-a5ff-4bfd-8576-9598cb6e892c" providerId="ADAL" clId="{A6B3FEFB-7D96-4BDB-87B3-BC7C8C08982D}" dt="2024-03-23T13:10:15.703" v="4"/>
        <pc:sldMkLst>
          <pc:docMk/>
          <pc:sldMk cId="2852443830" sldId="2147378632"/>
        </pc:sldMkLst>
        <pc:graphicFrameChg chg="mod">
          <ac:chgData name="Masuda, Akihito" userId="e1ea6b8a-a5ff-4bfd-8576-9598cb6e892c" providerId="ADAL" clId="{A6B3FEFB-7D96-4BDB-87B3-BC7C8C08982D}" dt="2024-03-23T13:10:15.703" v="4"/>
          <ac:graphicFrameMkLst>
            <pc:docMk/>
            <pc:sldMk cId="2852443830" sldId="2147378632"/>
            <ac:graphicFrameMk id="5" creationId="{E78F9D36-5310-41D4-8608-5BFFDB0F22CA}"/>
          </ac:graphicFrameMkLst>
        </pc:graphicFrameChg>
      </pc:sldChg>
    </pc:docChg>
  </pc:docChgLst>
  <pc:docChgLst>
    <pc:chgData name="椿優里" clId="Web-{E2606989-553E-4A53-BC64-32801A9BAB1E}"/>
    <pc:docChg chg="delSld modSection">
      <pc:chgData name="椿優里" userId="" providerId="" clId="Web-{E2606989-553E-4A53-BC64-32801A9BAB1E}" dt="2024-04-18T00:22:09.514" v="0"/>
      <pc:docMkLst>
        <pc:docMk/>
      </pc:docMkLst>
      <pc:sldChg chg="del">
        <pc:chgData name="椿優里" userId="" providerId="" clId="Web-{E2606989-553E-4A53-BC64-32801A9BAB1E}" dt="2024-04-18T00:22:09.514" v="0"/>
        <pc:sldMkLst>
          <pc:docMk/>
          <pc:sldMk cId="4084490342" sldId="2147378676"/>
        </pc:sldMkLst>
      </pc:sldChg>
    </pc:docChg>
  </pc:docChgLst>
  <pc:docChgLst>
    <pc:chgData name="原田　惇" clId="Web-{2FB82AC1-2591-4DE5-B81B-EA0C2EE1C02E}"/>
    <pc:docChg chg="modSld sldOrd">
      <pc:chgData name="原田　惇" userId="" providerId="" clId="Web-{2FB82AC1-2591-4DE5-B81B-EA0C2EE1C02E}" dt="2024-04-18T06:29:41.553" v="69"/>
      <pc:docMkLst>
        <pc:docMk/>
      </pc:docMkLst>
      <pc:sldChg chg="addSp modSp">
        <pc:chgData name="原田　惇" userId="" providerId="" clId="Web-{2FB82AC1-2591-4DE5-B81B-EA0C2EE1C02E}" dt="2024-04-18T06:28:51.676" v="68" actId="1076"/>
        <pc:sldMkLst>
          <pc:docMk/>
          <pc:sldMk cId="548282329" sldId="2147377940"/>
        </pc:sldMkLst>
        <pc:spChg chg="add mod">
          <ac:chgData name="原田　惇" userId="" providerId="" clId="Web-{2FB82AC1-2591-4DE5-B81B-EA0C2EE1C02E}" dt="2024-04-18T06:28:51.676" v="68" actId="1076"/>
          <ac:spMkLst>
            <pc:docMk/>
            <pc:sldMk cId="548282329" sldId="2147377940"/>
            <ac:spMk id="7" creationId="{1E8DC314-BD13-5E0C-3F6F-B90A2074D664}"/>
          </ac:spMkLst>
        </pc:spChg>
      </pc:sldChg>
      <pc:sldChg chg="ord">
        <pc:chgData name="原田　惇" userId="" providerId="" clId="Web-{2FB82AC1-2591-4DE5-B81B-EA0C2EE1C02E}" dt="2024-04-18T06:29:41.553" v="69"/>
        <pc:sldMkLst>
          <pc:docMk/>
          <pc:sldMk cId="2061620207" sldId="2147378645"/>
        </pc:sldMkLst>
      </pc:sldChg>
      <pc:sldChg chg="modSp">
        <pc:chgData name="原田　惇" userId="" providerId="" clId="Web-{2FB82AC1-2591-4DE5-B81B-EA0C2EE1C02E}" dt="2024-04-18T06:28:38.254" v="67" actId="1076"/>
        <pc:sldMkLst>
          <pc:docMk/>
          <pc:sldMk cId="1541444175" sldId="2147378660"/>
        </pc:sldMkLst>
        <pc:spChg chg="mod">
          <ac:chgData name="原田　惇" userId="" providerId="" clId="Web-{2FB82AC1-2591-4DE5-B81B-EA0C2EE1C02E}" dt="2024-04-18T06:28:38.254" v="67" actId="1076"/>
          <ac:spMkLst>
            <pc:docMk/>
            <pc:sldMk cId="1541444175" sldId="2147378660"/>
            <ac:spMk id="2" creationId="{F94CF494-E0C2-22EA-8AE5-F92FB79F0C3D}"/>
          </ac:spMkLst>
        </pc:spChg>
      </pc:sldChg>
    </pc:docChg>
  </pc:docChgLst>
  <pc:docChgLst>
    <pc:chgData name="Mikami, Maho" userId="50612f1b-df2d-47bb-8fdd-7ddedc83fc7e" providerId="ADAL" clId="{5CBE12F2-F3C8-4DCE-AD77-5EBD7EED8DBF}"/>
    <pc:docChg chg="undo redo custSel addSld delSld modSld sldOrd delMainMaster modMainMaster modSection replTag">
      <pc:chgData name="Mikami, Maho" userId="50612f1b-df2d-47bb-8fdd-7ddedc83fc7e" providerId="ADAL" clId="{5CBE12F2-F3C8-4DCE-AD77-5EBD7EED8DBF}" dt="2024-03-24T08:51:04.713" v="6786" actId="1076"/>
      <pc:docMkLst>
        <pc:docMk/>
      </pc:docMkLst>
      <pc:sldChg chg="addSp modSp">
        <pc:chgData name="Mikami, Maho" userId="50612f1b-df2d-47bb-8fdd-7ddedc83fc7e" providerId="ADAL" clId="{5CBE12F2-F3C8-4DCE-AD77-5EBD7EED8DBF}" dt="2024-03-24T07:16:36.348" v="5819"/>
        <pc:sldMkLst>
          <pc:docMk/>
          <pc:sldMk cId="962168066" sldId="2146847508"/>
        </pc:sldMkLst>
        <pc:spChg chg="add mod">
          <ac:chgData name="Mikami, Maho" userId="50612f1b-df2d-47bb-8fdd-7ddedc83fc7e" providerId="ADAL" clId="{5CBE12F2-F3C8-4DCE-AD77-5EBD7EED8DBF}" dt="2024-03-24T07:16:36.348" v="5819"/>
          <ac:spMkLst>
            <pc:docMk/>
            <pc:sldMk cId="962168066" sldId="2146847508"/>
            <ac:spMk id="4" creationId="{CDCA7478-E07E-D28E-684F-6F629A3C36B3}"/>
          </ac:spMkLst>
        </pc:spChg>
      </pc:sldChg>
      <pc:sldChg chg="addSp delSp modSp mod">
        <pc:chgData name="Mikami, Maho" userId="50612f1b-df2d-47bb-8fdd-7ddedc83fc7e" providerId="ADAL" clId="{5CBE12F2-F3C8-4DCE-AD77-5EBD7EED8DBF}" dt="2024-03-24T07:18:28.859" v="5989"/>
        <pc:sldMkLst>
          <pc:docMk/>
          <pc:sldMk cId="429254024" sldId="2146847554"/>
        </pc:sldMkLst>
        <pc:spChg chg="add del mod">
          <ac:chgData name="Mikami, Maho" userId="50612f1b-df2d-47bb-8fdd-7ddedc83fc7e" providerId="ADAL" clId="{5CBE12F2-F3C8-4DCE-AD77-5EBD7EED8DBF}" dt="2024-03-24T06:34:27.214" v="4690" actId="478"/>
          <ac:spMkLst>
            <pc:docMk/>
            <pc:sldMk cId="429254024" sldId="2146847554"/>
            <ac:spMk id="2" creationId="{6E9B2F69-8E24-7E7E-864A-F20B59DDE6FE}"/>
          </ac:spMkLst>
        </pc:spChg>
        <pc:spChg chg="mod">
          <ac:chgData name="Mikami, Maho" userId="50612f1b-df2d-47bb-8fdd-7ddedc83fc7e" providerId="ADAL" clId="{5CBE12F2-F3C8-4DCE-AD77-5EBD7EED8DBF}" dt="2024-03-24T04:55:08.527" v="2692" actId="948"/>
          <ac:spMkLst>
            <pc:docMk/>
            <pc:sldMk cId="429254024" sldId="2146847554"/>
            <ac:spMk id="4" creationId="{AD8944B4-3C5B-C988-2185-AC2F7BEC7369}"/>
          </ac:spMkLst>
        </pc:spChg>
        <pc:spChg chg="add mod">
          <ac:chgData name="Mikami, Maho" userId="50612f1b-df2d-47bb-8fdd-7ddedc83fc7e" providerId="ADAL" clId="{5CBE12F2-F3C8-4DCE-AD77-5EBD7EED8DBF}" dt="2024-03-24T07:18:28.859" v="5989"/>
          <ac:spMkLst>
            <pc:docMk/>
            <pc:sldMk cId="429254024" sldId="2146847554"/>
            <ac:spMk id="5" creationId="{33640ECB-99BC-B6A2-32B1-F6E97D8A143F}"/>
          </ac:spMkLst>
        </pc:spChg>
        <pc:spChg chg="mod">
          <ac:chgData name="Mikami, Maho" userId="50612f1b-df2d-47bb-8fdd-7ddedc83fc7e" providerId="ADAL" clId="{5CBE12F2-F3C8-4DCE-AD77-5EBD7EED8DBF}" dt="2024-03-24T04:01:02.203" v="1640" actId="14100"/>
          <ac:spMkLst>
            <pc:docMk/>
            <pc:sldMk cId="429254024" sldId="2146847554"/>
            <ac:spMk id="11" creationId="{CAF0B5B8-43B9-8E20-6FDF-E99F9F5989DB}"/>
          </ac:spMkLst>
        </pc:spChg>
        <pc:graphicFrameChg chg="mod">
          <ac:chgData name="Mikami, Maho" userId="50612f1b-df2d-47bb-8fdd-7ddedc83fc7e" providerId="ADAL" clId="{5CBE12F2-F3C8-4DCE-AD77-5EBD7EED8DBF}" dt="2024-03-24T04:55:08.543" v="2696"/>
          <ac:graphicFrameMkLst>
            <pc:docMk/>
            <pc:sldMk cId="429254024" sldId="2146847554"/>
            <ac:graphicFrameMk id="7" creationId="{DAEF77AD-2CE0-DFBE-F3EE-27BF4407FF6A}"/>
          </ac:graphicFrameMkLst>
        </pc:graphicFrameChg>
      </pc:sldChg>
      <pc:sldChg chg="delSp modSp mod">
        <pc:chgData name="Mikami, Maho" userId="50612f1b-df2d-47bb-8fdd-7ddedc83fc7e" providerId="ADAL" clId="{5CBE12F2-F3C8-4DCE-AD77-5EBD7EED8DBF}" dt="2024-03-24T06:32:14.503" v="4522" actId="478"/>
        <pc:sldMkLst>
          <pc:docMk/>
          <pc:sldMk cId="2559321920" sldId="2146847560"/>
        </pc:sldMkLst>
        <pc:spChg chg="del mod">
          <ac:chgData name="Mikami, Maho" userId="50612f1b-df2d-47bb-8fdd-7ddedc83fc7e" providerId="ADAL" clId="{5CBE12F2-F3C8-4DCE-AD77-5EBD7EED8DBF}" dt="2024-03-24T06:32:14.503" v="4522" actId="478"/>
          <ac:spMkLst>
            <pc:docMk/>
            <pc:sldMk cId="2559321920" sldId="2146847560"/>
            <ac:spMk id="2" creationId="{F6F33E3D-87C7-489C-D50F-B378A6B34C12}"/>
          </ac:spMkLst>
        </pc:spChg>
        <pc:spChg chg="mod">
          <ac:chgData name="Mikami, Maho" userId="50612f1b-df2d-47bb-8fdd-7ddedc83fc7e" providerId="ADAL" clId="{5CBE12F2-F3C8-4DCE-AD77-5EBD7EED8DBF}" dt="2024-03-24T04:14:14.155" v="2129" actId="1076"/>
          <ac:spMkLst>
            <pc:docMk/>
            <pc:sldMk cId="2559321920" sldId="2146847560"/>
            <ac:spMk id="7" creationId="{F9ADCEC0-9C74-0C0E-8BCB-03B64B0E9536}"/>
          </ac:spMkLst>
        </pc:spChg>
        <pc:graphicFrameChg chg="modGraphic">
          <ac:chgData name="Mikami, Maho" userId="50612f1b-df2d-47bb-8fdd-7ddedc83fc7e" providerId="ADAL" clId="{5CBE12F2-F3C8-4DCE-AD77-5EBD7EED8DBF}" dt="2024-03-24T04:14:33.939" v="2215" actId="20577"/>
          <ac:graphicFrameMkLst>
            <pc:docMk/>
            <pc:sldMk cId="2559321920" sldId="2146847560"/>
            <ac:graphicFrameMk id="36" creationId="{E529E9C8-5A13-F9F0-E3E5-0E9625F59602}"/>
          </ac:graphicFrameMkLst>
        </pc:graphicFrameChg>
      </pc:sldChg>
      <pc:sldChg chg="addSp modSp mod">
        <pc:chgData name="Mikami, Maho" userId="50612f1b-df2d-47bb-8fdd-7ddedc83fc7e" providerId="ADAL" clId="{5CBE12F2-F3C8-4DCE-AD77-5EBD7EED8DBF}" dt="2024-03-24T07:16:52.264" v="5832" actId="20577"/>
        <pc:sldMkLst>
          <pc:docMk/>
          <pc:sldMk cId="2088699351" sldId="2146847588"/>
        </pc:sldMkLst>
        <pc:spChg chg="add mod">
          <ac:chgData name="Mikami, Maho" userId="50612f1b-df2d-47bb-8fdd-7ddedc83fc7e" providerId="ADAL" clId="{5CBE12F2-F3C8-4DCE-AD77-5EBD7EED8DBF}" dt="2024-03-24T07:16:33.917" v="5817"/>
          <ac:spMkLst>
            <pc:docMk/>
            <pc:sldMk cId="2088699351" sldId="2146847588"/>
            <ac:spMk id="3" creationId="{FCB0A08B-3E83-6BF6-E78C-760014064E9C}"/>
          </ac:spMkLst>
        </pc:spChg>
        <pc:spChg chg="mod">
          <ac:chgData name="Mikami, Maho" userId="50612f1b-df2d-47bb-8fdd-7ddedc83fc7e" providerId="ADAL" clId="{5CBE12F2-F3C8-4DCE-AD77-5EBD7EED8DBF}" dt="2024-03-24T07:16:52.264" v="5832" actId="20577"/>
          <ac:spMkLst>
            <pc:docMk/>
            <pc:sldMk cId="2088699351" sldId="2146847588"/>
            <ac:spMk id="7" creationId="{F0D8E545-A466-48F4-9272-B878EF0DC16B}"/>
          </ac:spMkLst>
        </pc:spChg>
      </pc:sldChg>
      <pc:sldChg chg="addSp modSp">
        <pc:chgData name="Mikami, Maho" userId="50612f1b-df2d-47bb-8fdd-7ddedc83fc7e" providerId="ADAL" clId="{5CBE12F2-F3C8-4DCE-AD77-5EBD7EED8DBF}" dt="2024-03-24T07:31:08.471" v="6710"/>
        <pc:sldMkLst>
          <pc:docMk/>
          <pc:sldMk cId="693426858" sldId="2146847590"/>
        </pc:sldMkLst>
        <pc:spChg chg="add mod">
          <ac:chgData name="Mikami, Maho" userId="50612f1b-df2d-47bb-8fdd-7ddedc83fc7e" providerId="ADAL" clId="{5CBE12F2-F3C8-4DCE-AD77-5EBD7EED8DBF}" dt="2024-03-24T07:31:08.471" v="6710"/>
          <ac:spMkLst>
            <pc:docMk/>
            <pc:sldMk cId="693426858" sldId="2146847590"/>
            <ac:spMk id="3" creationId="{29432406-B63C-626C-40D4-F7E4352D40E9}"/>
          </ac:spMkLst>
        </pc:spChg>
      </pc:sldChg>
      <pc:sldChg chg="addSp delSp modSp del mod">
        <pc:chgData name="Mikami, Maho" userId="50612f1b-df2d-47bb-8fdd-7ddedc83fc7e" providerId="ADAL" clId="{5CBE12F2-F3C8-4DCE-AD77-5EBD7EED8DBF}" dt="2024-03-24T04:54:33.927" v="2648" actId="47"/>
        <pc:sldMkLst>
          <pc:docMk/>
          <pc:sldMk cId="2766274149" sldId="2146847591"/>
        </pc:sldMkLst>
        <pc:spChg chg="del">
          <ac:chgData name="Mikami, Maho" userId="50612f1b-df2d-47bb-8fdd-7ddedc83fc7e" providerId="ADAL" clId="{5CBE12F2-F3C8-4DCE-AD77-5EBD7EED8DBF}" dt="2024-03-24T03:59:58.889" v="1451" actId="478"/>
          <ac:spMkLst>
            <pc:docMk/>
            <pc:sldMk cId="2766274149" sldId="2146847591"/>
            <ac:spMk id="3" creationId="{CC34A2F9-677E-A2BD-1DE8-CCC28E4A8300}"/>
          </ac:spMkLst>
        </pc:spChg>
        <pc:spChg chg="del">
          <ac:chgData name="Mikami, Maho" userId="50612f1b-df2d-47bb-8fdd-7ddedc83fc7e" providerId="ADAL" clId="{5CBE12F2-F3C8-4DCE-AD77-5EBD7EED8DBF}" dt="2024-03-24T04:00:33.913" v="1566" actId="478"/>
          <ac:spMkLst>
            <pc:docMk/>
            <pc:sldMk cId="2766274149" sldId="2146847591"/>
            <ac:spMk id="4" creationId="{9007537D-F927-3642-51DE-8BEF07CF47FF}"/>
          </ac:spMkLst>
        </pc:spChg>
        <pc:spChg chg="mod">
          <ac:chgData name="Mikami, Maho" userId="50612f1b-df2d-47bb-8fdd-7ddedc83fc7e" providerId="ADAL" clId="{5CBE12F2-F3C8-4DCE-AD77-5EBD7EED8DBF}" dt="2024-03-24T04:00:32.411" v="1565" actId="20577"/>
          <ac:spMkLst>
            <pc:docMk/>
            <pc:sldMk cId="2766274149" sldId="2146847591"/>
            <ac:spMk id="7" creationId="{F0D8E545-A466-48F4-9272-B878EF0DC16B}"/>
          </ac:spMkLst>
        </pc:spChg>
        <pc:spChg chg="add mod">
          <ac:chgData name="Mikami, Maho" userId="50612f1b-df2d-47bb-8fdd-7ddedc83fc7e" providerId="ADAL" clId="{5CBE12F2-F3C8-4DCE-AD77-5EBD7EED8DBF}" dt="2024-03-24T03:59:58.056" v="1450" actId="14100"/>
          <ac:spMkLst>
            <pc:docMk/>
            <pc:sldMk cId="2766274149" sldId="2146847591"/>
            <ac:spMk id="8" creationId="{3A78F6AD-C84E-589A-B0BE-8C5F0F7C0A1F}"/>
          </ac:spMkLst>
        </pc:spChg>
        <pc:spChg chg="mod">
          <ac:chgData name="Mikami, Maho" userId="50612f1b-df2d-47bb-8fdd-7ddedc83fc7e" providerId="ADAL" clId="{5CBE12F2-F3C8-4DCE-AD77-5EBD7EED8DBF}" dt="2024-03-24T04:54:04.395" v="2633" actId="948"/>
          <ac:spMkLst>
            <pc:docMk/>
            <pc:sldMk cId="2766274149" sldId="2146847591"/>
            <ac:spMk id="9" creationId="{D22A0A06-D5A8-4A1A-B66F-2A8EDBD644F1}"/>
          </ac:spMkLst>
        </pc:spChg>
        <pc:graphicFrameChg chg="mod">
          <ac:chgData name="Mikami, Maho" userId="50612f1b-df2d-47bb-8fdd-7ddedc83fc7e" providerId="ADAL" clId="{5CBE12F2-F3C8-4DCE-AD77-5EBD7EED8DBF}" dt="2024-03-24T04:54:04.408" v="2637"/>
          <ac:graphicFrameMkLst>
            <pc:docMk/>
            <pc:sldMk cId="2766274149" sldId="2146847591"/>
            <ac:graphicFrameMk id="5" creationId="{E78F9D36-5310-41D4-8608-5BFFDB0F22CA}"/>
          </ac:graphicFrameMkLst>
        </pc:graphicFrameChg>
      </pc:sldChg>
      <pc:sldChg chg="addSp modSp">
        <pc:chgData name="Mikami, Maho" userId="50612f1b-df2d-47bb-8fdd-7ddedc83fc7e" providerId="ADAL" clId="{5CBE12F2-F3C8-4DCE-AD77-5EBD7EED8DBF}" dt="2024-03-24T07:31:07.489" v="6709"/>
        <pc:sldMkLst>
          <pc:docMk/>
          <pc:sldMk cId="2962430587" sldId="2146847592"/>
        </pc:sldMkLst>
        <pc:spChg chg="add mod">
          <ac:chgData name="Mikami, Maho" userId="50612f1b-df2d-47bb-8fdd-7ddedc83fc7e" providerId="ADAL" clId="{5CBE12F2-F3C8-4DCE-AD77-5EBD7EED8DBF}" dt="2024-03-24T07:31:07.489" v="6709"/>
          <ac:spMkLst>
            <pc:docMk/>
            <pc:sldMk cId="2962430587" sldId="2146847592"/>
            <ac:spMk id="2" creationId="{227BDBB1-56EF-BF0F-9805-A7EB7327F4BB}"/>
          </ac:spMkLst>
        </pc:spChg>
      </pc:sldChg>
      <pc:sldChg chg="addSp delSp modSp mod">
        <pc:chgData name="Mikami, Maho" userId="50612f1b-df2d-47bb-8fdd-7ddedc83fc7e" providerId="ADAL" clId="{5CBE12F2-F3C8-4DCE-AD77-5EBD7EED8DBF}" dt="2024-03-24T07:31:22.856" v="6747" actId="1035"/>
        <pc:sldMkLst>
          <pc:docMk/>
          <pc:sldMk cId="1846119523" sldId="2146847593"/>
        </pc:sldMkLst>
        <pc:spChg chg="add mod">
          <ac:chgData name="Mikami, Maho" userId="50612f1b-df2d-47bb-8fdd-7ddedc83fc7e" providerId="ADAL" clId="{5CBE12F2-F3C8-4DCE-AD77-5EBD7EED8DBF}" dt="2024-03-24T07:31:22.856" v="6747" actId="1035"/>
          <ac:spMkLst>
            <pc:docMk/>
            <pc:sldMk cId="1846119523" sldId="2146847593"/>
            <ac:spMk id="3" creationId="{976091B4-FA28-46C8-7E75-625FA9A62742}"/>
          </ac:spMkLst>
        </pc:spChg>
        <pc:spChg chg="add del mod">
          <ac:chgData name="Mikami, Maho" userId="50612f1b-df2d-47bb-8fdd-7ddedc83fc7e" providerId="ADAL" clId="{5CBE12F2-F3C8-4DCE-AD77-5EBD7EED8DBF}" dt="2024-03-24T07:31:19.668" v="6736" actId="478"/>
          <ac:spMkLst>
            <pc:docMk/>
            <pc:sldMk cId="1846119523" sldId="2146847593"/>
            <ac:spMk id="4" creationId="{60894899-98CB-6848-EBE7-B2A3AF96CD8D}"/>
          </ac:spMkLst>
        </pc:spChg>
        <pc:spChg chg="add mod">
          <ac:chgData name="Mikami, Maho" userId="50612f1b-df2d-47bb-8fdd-7ddedc83fc7e" providerId="ADAL" clId="{5CBE12F2-F3C8-4DCE-AD77-5EBD7EED8DBF}" dt="2024-03-24T07:31:18.317" v="6735"/>
          <ac:spMkLst>
            <pc:docMk/>
            <pc:sldMk cId="1846119523" sldId="2146847593"/>
            <ac:spMk id="8" creationId="{4319BB28-721C-72BB-4118-53071F2BE92E}"/>
          </ac:spMkLst>
        </pc:spChg>
        <pc:spChg chg="mod">
          <ac:chgData name="Mikami, Maho" userId="50612f1b-df2d-47bb-8fdd-7ddedc83fc7e" providerId="ADAL" clId="{5CBE12F2-F3C8-4DCE-AD77-5EBD7EED8DBF}" dt="2024-03-24T05:00:53.332" v="2962" actId="948"/>
          <ac:spMkLst>
            <pc:docMk/>
            <pc:sldMk cId="1846119523" sldId="2146847593"/>
            <ac:spMk id="9" creationId="{D22A0A06-D5A8-4A1A-B66F-2A8EDBD644F1}"/>
          </ac:spMkLst>
        </pc:spChg>
        <pc:graphicFrameChg chg="mod">
          <ac:chgData name="Mikami, Maho" userId="50612f1b-df2d-47bb-8fdd-7ddedc83fc7e" providerId="ADAL" clId="{5CBE12F2-F3C8-4DCE-AD77-5EBD7EED8DBF}" dt="2024-03-24T05:00:53.341" v="2966"/>
          <ac:graphicFrameMkLst>
            <pc:docMk/>
            <pc:sldMk cId="1846119523" sldId="2146847593"/>
            <ac:graphicFrameMk id="5" creationId="{E78F9D36-5310-41D4-8608-5BFFDB0F22CA}"/>
          </ac:graphicFrameMkLst>
        </pc:graphicFrameChg>
      </pc:sldChg>
      <pc:sldChg chg="addSp modSp mod">
        <pc:chgData name="Mikami, Maho" userId="50612f1b-df2d-47bb-8fdd-7ddedc83fc7e" providerId="ADAL" clId="{5CBE12F2-F3C8-4DCE-AD77-5EBD7EED8DBF}" dt="2024-03-24T07:16:32.988" v="5816" actId="1035"/>
        <pc:sldMkLst>
          <pc:docMk/>
          <pc:sldMk cId="242853946" sldId="2146847595"/>
        </pc:sldMkLst>
        <pc:spChg chg="add mod">
          <ac:chgData name="Mikami, Maho" userId="50612f1b-df2d-47bb-8fdd-7ddedc83fc7e" providerId="ADAL" clId="{5CBE12F2-F3C8-4DCE-AD77-5EBD7EED8DBF}" dt="2024-03-24T07:16:32.988" v="5816" actId="1035"/>
          <ac:spMkLst>
            <pc:docMk/>
            <pc:sldMk cId="242853946" sldId="2146847595"/>
            <ac:spMk id="3" creationId="{DC29AFE4-0DC6-7638-D99D-C0B91FD8CB54}"/>
          </ac:spMkLst>
        </pc:spChg>
        <pc:spChg chg="mod">
          <ac:chgData name="Mikami, Maho" userId="50612f1b-df2d-47bb-8fdd-7ddedc83fc7e" providerId="ADAL" clId="{5CBE12F2-F3C8-4DCE-AD77-5EBD7EED8DBF}" dt="2024-03-24T07:16:01.882" v="5755" actId="20577"/>
          <ac:spMkLst>
            <pc:docMk/>
            <pc:sldMk cId="242853946" sldId="2146847595"/>
            <ac:spMk id="7" creationId="{F0D8E545-A466-48F4-9272-B878EF0DC16B}"/>
          </ac:spMkLst>
        </pc:spChg>
      </pc:sldChg>
      <pc:sldChg chg="addSp delSp modSp mod">
        <pc:chgData name="Mikami, Maho" userId="50612f1b-df2d-47bb-8fdd-7ddedc83fc7e" providerId="ADAL" clId="{5CBE12F2-F3C8-4DCE-AD77-5EBD7EED8DBF}" dt="2024-03-24T07:29:05.080" v="6685" actId="20577"/>
        <pc:sldMkLst>
          <pc:docMk/>
          <pc:sldMk cId="454459423" sldId="2146847596"/>
        </pc:sldMkLst>
        <pc:spChg chg="del mod">
          <ac:chgData name="Mikami, Maho" userId="50612f1b-df2d-47bb-8fdd-7ddedc83fc7e" providerId="ADAL" clId="{5CBE12F2-F3C8-4DCE-AD77-5EBD7EED8DBF}" dt="2024-03-24T03:59:33.464" v="1411" actId="478"/>
          <ac:spMkLst>
            <pc:docMk/>
            <pc:sldMk cId="454459423" sldId="2146847596"/>
            <ac:spMk id="3" creationId="{1718E0E3-0ED7-F510-E4B5-0069CBC2DB9C}"/>
          </ac:spMkLst>
        </pc:spChg>
        <pc:spChg chg="add mod">
          <ac:chgData name="Mikami, Maho" userId="50612f1b-df2d-47bb-8fdd-7ddedc83fc7e" providerId="ADAL" clId="{5CBE12F2-F3C8-4DCE-AD77-5EBD7EED8DBF}" dt="2024-03-24T04:00:04.683" v="1457" actId="20577"/>
          <ac:spMkLst>
            <pc:docMk/>
            <pc:sldMk cId="454459423" sldId="2146847596"/>
            <ac:spMk id="6" creationId="{50368184-B4F4-B277-1E1A-555859740399}"/>
          </ac:spMkLst>
        </pc:spChg>
        <pc:spChg chg="mod">
          <ac:chgData name="Mikami, Maho" userId="50612f1b-df2d-47bb-8fdd-7ddedc83fc7e" providerId="ADAL" clId="{5CBE12F2-F3C8-4DCE-AD77-5EBD7EED8DBF}" dt="2024-03-24T07:29:05.080" v="6685" actId="20577"/>
          <ac:spMkLst>
            <pc:docMk/>
            <pc:sldMk cId="454459423" sldId="2146847596"/>
            <ac:spMk id="7" creationId="{F0D8E545-A466-48F4-9272-B878EF0DC16B}"/>
          </ac:spMkLst>
        </pc:spChg>
      </pc:sldChg>
      <pc:sldChg chg="addSp modSp">
        <pc:chgData name="Mikami, Maho" userId="50612f1b-df2d-47bb-8fdd-7ddedc83fc7e" providerId="ADAL" clId="{5CBE12F2-F3C8-4DCE-AD77-5EBD7EED8DBF}" dt="2024-03-24T07:31:34.120" v="6781"/>
        <pc:sldMkLst>
          <pc:docMk/>
          <pc:sldMk cId="4083648982" sldId="2146847600"/>
        </pc:sldMkLst>
        <pc:spChg chg="add mod">
          <ac:chgData name="Mikami, Maho" userId="50612f1b-df2d-47bb-8fdd-7ddedc83fc7e" providerId="ADAL" clId="{5CBE12F2-F3C8-4DCE-AD77-5EBD7EED8DBF}" dt="2024-03-24T07:31:34.120" v="6781"/>
          <ac:spMkLst>
            <pc:docMk/>
            <pc:sldMk cId="4083648982" sldId="2146847600"/>
            <ac:spMk id="3" creationId="{6C646BEF-10F3-A4D9-626D-E5FB229D1C47}"/>
          </ac:spMkLst>
        </pc:spChg>
      </pc:sldChg>
      <pc:sldChg chg="addSp modSp">
        <pc:chgData name="Mikami, Maho" userId="50612f1b-df2d-47bb-8fdd-7ddedc83fc7e" providerId="ADAL" clId="{5CBE12F2-F3C8-4DCE-AD77-5EBD7EED8DBF}" dt="2024-03-24T07:16:34.723" v="5818"/>
        <pc:sldMkLst>
          <pc:docMk/>
          <pc:sldMk cId="2769435336" sldId="2146847601"/>
        </pc:sldMkLst>
        <pc:spChg chg="add mod">
          <ac:chgData name="Mikami, Maho" userId="50612f1b-df2d-47bb-8fdd-7ddedc83fc7e" providerId="ADAL" clId="{5CBE12F2-F3C8-4DCE-AD77-5EBD7EED8DBF}" dt="2024-03-24T07:16:34.723" v="5818"/>
          <ac:spMkLst>
            <pc:docMk/>
            <pc:sldMk cId="2769435336" sldId="2146847601"/>
            <ac:spMk id="2" creationId="{0C496FAA-B54B-6E9E-273F-740E8B0A733A}"/>
          </ac:spMkLst>
        </pc:spChg>
      </pc:sldChg>
      <pc:sldChg chg="modSp mod">
        <pc:chgData name="Mikami, Maho" userId="50612f1b-df2d-47bb-8fdd-7ddedc83fc7e" providerId="ADAL" clId="{5CBE12F2-F3C8-4DCE-AD77-5EBD7EED8DBF}" dt="2024-03-24T07:12:59.602" v="5484" actId="20577"/>
        <pc:sldMkLst>
          <pc:docMk/>
          <pc:sldMk cId="866626810" sldId="2146847605"/>
        </pc:sldMkLst>
        <pc:spChg chg="mod">
          <ac:chgData name="Mikami, Maho" userId="50612f1b-df2d-47bb-8fdd-7ddedc83fc7e" providerId="ADAL" clId="{5CBE12F2-F3C8-4DCE-AD77-5EBD7EED8DBF}" dt="2024-03-24T07:12:59.602" v="5484" actId="20577"/>
          <ac:spMkLst>
            <pc:docMk/>
            <pc:sldMk cId="866626810" sldId="2146847605"/>
            <ac:spMk id="8" creationId="{46402638-2B83-461D-A5AF-34487FA532E1}"/>
          </ac:spMkLst>
        </pc:spChg>
      </pc:sldChg>
      <pc:sldChg chg="modSp mod">
        <pc:chgData name="Mikami, Maho" userId="50612f1b-df2d-47bb-8fdd-7ddedc83fc7e" providerId="ADAL" clId="{5CBE12F2-F3C8-4DCE-AD77-5EBD7EED8DBF}" dt="2024-03-24T08:51:04.713" v="6786" actId="1076"/>
        <pc:sldMkLst>
          <pc:docMk/>
          <pc:sldMk cId="2389438647" sldId="2146847607"/>
        </pc:sldMkLst>
        <pc:spChg chg="mod">
          <ac:chgData name="Mikami, Maho" userId="50612f1b-df2d-47bb-8fdd-7ddedc83fc7e" providerId="ADAL" clId="{5CBE12F2-F3C8-4DCE-AD77-5EBD7EED8DBF}" dt="2024-03-24T08:51:04.713" v="6786" actId="1076"/>
          <ac:spMkLst>
            <pc:docMk/>
            <pc:sldMk cId="2389438647" sldId="2146847607"/>
            <ac:spMk id="3" creationId="{333095D3-2FAA-937D-3231-027C38419672}"/>
          </ac:spMkLst>
        </pc:spChg>
        <pc:graphicFrameChg chg="mod">
          <ac:chgData name="Mikami, Maho" userId="50612f1b-df2d-47bb-8fdd-7ddedc83fc7e" providerId="ADAL" clId="{5CBE12F2-F3C8-4DCE-AD77-5EBD7EED8DBF}" dt="2024-03-24T08:51:02.011" v="6785"/>
          <ac:graphicFrameMkLst>
            <pc:docMk/>
            <pc:sldMk cId="2389438647" sldId="2146847607"/>
            <ac:graphicFrameMk id="6" creationId="{B55303B4-CE87-4811-3F7F-A140D7D12FA2}"/>
          </ac:graphicFrameMkLst>
        </pc:graphicFrameChg>
      </pc:sldChg>
      <pc:sldChg chg="modSp mod">
        <pc:chgData name="Mikami, Maho" userId="50612f1b-df2d-47bb-8fdd-7ddedc83fc7e" providerId="ADAL" clId="{5CBE12F2-F3C8-4DCE-AD77-5EBD7EED8DBF}" dt="2024-03-24T07:11:10.072" v="5291" actId="20577"/>
        <pc:sldMkLst>
          <pc:docMk/>
          <pc:sldMk cId="2073688605" sldId="2146847608"/>
        </pc:sldMkLst>
        <pc:spChg chg="mod">
          <ac:chgData name="Mikami, Maho" userId="50612f1b-df2d-47bb-8fdd-7ddedc83fc7e" providerId="ADAL" clId="{5CBE12F2-F3C8-4DCE-AD77-5EBD7EED8DBF}" dt="2024-03-24T07:11:10.072" v="5291" actId="20577"/>
          <ac:spMkLst>
            <pc:docMk/>
            <pc:sldMk cId="2073688605" sldId="2146847608"/>
            <ac:spMk id="8" creationId="{46402638-2B83-461D-A5AF-34487FA532E1}"/>
          </ac:spMkLst>
        </pc:spChg>
        <pc:graphicFrameChg chg="modGraphic">
          <ac:chgData name="Mikami, Maho" userId="50612f1b-df2d-47bb-8fdd-7ddedc83fc7e" providerId="ADAL" clId="{5CBE12F2-F3C8-4DCE-AD77-5EBD7EED8DBF}" dt="2024-03-24T07:11:04.147" v="5285" actId="20577"/>
          <ac:graphicFrameMkLst>
            <pc:docMk/>
            <pc:sldMk cId="2073688605" sldId="2146847608"/>
            <ac:graphicFrameMk id="6" creationId="{C4701216-4BC2-4B2E-023B-F5FE85ABF65D}"/>
          </ac:graphicFrameMkLst>
        </pc:graphicFrameChg>
      </pc:sldChg>
      <pc:sldChg chg="addSp delSp modSp mod">
        <pc:chgData name="Mikami, Maho" userId="50612f1b-df2d-47bb-8fdd-7ddedc83fc7e" providerId="ADAL" clId="{5CBE12F2-F3C8-4DCE-AD77-5EBD7EED8DBF}" dt="2024-03-24T06:32:48.247" v="4556" actId="20577"/>
        <pc:sldMkLst>
          <pc:docMk/>
          <pc:sldMk cId="1799110117" sldId="2146847611"/>
        </pc:sldMkLst>
        <pc:spChg chg="add mod">
          <ac:chgData name="Mikami, Maho" userId="50612f1b-df2d-47bb-8fdd-7ddedc83fc7e" providerId="ADAL" clId="{5CBE12F2-F3C8-4DCE-AD77-5EBD7EED8DBF}" dt="2024-03-24T06:32:48.247" v="4556" actId="20577"/>
          <ac:spMkLst>
            <pc:docMk/>
            <pc:sldMk cId="1799110117" sldId="2146847611"/>
            <ac:spMk id="2" creationId="{B1E0DC43-489A-9BAE-613D-4DFE49F2E898}"/>
          </ac:spMkLst>
        </pc:spChg>
        <pc:spChg chg="del">
          <ac:chgData name="Mikami, Maho" userId="50612f1b-df2d-47bb-8fdd-7ddedc83fc7e" providerId="ADAL" clId="{5CBE12F2-F3C8-4DCE-AD77-5EBD7EED8DBF}" dt="2024-03-24T06:32:35.737" v="4524" actId="478"/>
          <ac:spMkLst>
            <pc:docMk/>
            <pc:sldMk cId="1799110117" sldId="2146847611"/>
            <ac:spMk id="23" creationId="{6050CA95-AF10-9564-18F8-69DF29CF5366}"/>
          </ac:spMkLst>
        </pc:spChg>
      </pc:sldChg>
      <pc:sldChg chg="del">
        <pc:chgData name="Mikami, Maho" userId="50612f1b-df2d-47bb-8fdd-7ddedc83fc7e" providerId="ADAL" clId="{5CBE12F2-F3C8-4DCE-AD77-5EBD7EED8DBF}" dt="2024-03-24T06:32:56.913" v="4557" actId="47"/>
        <pc:sldMkLst>
          <pc:docMk/>
          <pc:sldMk cId="1401715061" sldId="2146847621"/>
        </pc:sldMkLst>
      </pc:sldChg>
      <pc:sldChg chg="del">
        <pc:chgData name="Mikami, Maho" userId="50612f1b-df2d-47bb-8fdd-7ddedc83fc7e" providerId="ADAL" clId="{5CBE12F2-F3C8-4DCE-AD77-5EBD7EED8DBF}" dt="2024-03-24T06:27:33.776" v="4278" actId="47"/>
        <pc:sldMkLst>
          <pc:docMk/>
          <pc:sldMk cId="2391146792" sldId="2146847622"/>
        </pc:sldMkLst>
      </pc:sldChg>
      <pc:sldChg chg="del">
        <pc:chgData name="Mikami, Maho" userId="50612f1b-df2d-47bb-8fdd-7ddedc83fc7e" providerId="ADAL" clId="{5CBE12F2-F3C8-4DCE-AD77-5EBD7EED8DBF}" dt="2024-03-24T06:27:34.839" v="4279" actId="47"/>
        <pc:sldMkLst>
          <pc:docMk/>
          <pc:sldMk cId="3393070087" sldId="2146847623"/>
        </pc:sldMkLst>
      </pc:sldChg>
      <pc:sldChg chg="del">
        <pc:chgData name="Mikami, Maho" userId="50612f1b-df2d-47bb-8fdd-7ddedc83fc7e" providerId="ADAL" clId="{5CBE12F2-F3C8-4DCE-AD77-5EBD7EED8DBF}" dt="2024-03-24T06:27:35.522" v="4280" actId="47"/>
        <pc:sldMkLst>
          <pc:docMk/>
          <pc:sldMk cId="2424482231" sldId="2146847624"/>
        </pc:sldMkLst>
      </pc:sldChg>
      <pc:sldChg chg="addSp delSp modSp mod">
        <pc:chgData name="Mikami, Maho" userId="50612f1b-df2d-47bb-8fdd-7ddedc83fc7e" providerId="ADAL" clId="{5CBE12F2-F3C8-4DCE-AD77-5EBD7EED8DBF}" dt="2024-03-24T06:28:59.854" v="4354" actId="1076"/>
        <pc:sldMkLst>
          <pc:docMk/>
          <pc:sldMk cId="445871252" sldId="2146847625"/>
        </pc:sldMkLst>
        <pc:spChg chg="mod ord">
          <ac:chgData name="Mikami, Maho" userId="50612f1b-df2d-47bb-8fdd-7ddedc83fc7e" providerId="ADAL" clId="{5CBE12F2-F3C8-4DCE-AD77-5EBD7EED8DBF}" dt="2024-03-24T06:28:26.114" v="4318"/>
          <ac:spMkLst>
            <pc:docMk/>
            <pc:sldMk cId="445871252" sldId="2146847625"/>
            <ac:spMk id="2" creationId="{189E31E1-7F0B-D301-8B6E-172CA8FEDEEB}"/>
          </ac:spMkLst>
        </pc:spChg>
        <pc:spChg chg="mod ord">
          <ac:chgData name="Mikami, Maho" userId="50612f1b-df2d-47bb-8fdd-7ddedc83fc7e" providerId="ADAL" clId="{5CBE12F2-F3C8-4DCE-AD77-5EBD7EED8DBF}" dt="2024-03-24T06:28:26.114" v="4316"/>
          <ac:spMkLst>
            <pc:docMk/>
            <pc:sldMk cId="445871252" sldId="2146847625"/>
            <ac:spMk id="3" creationId="{0E959234-D977-32D2-63DC-F4994725B46C}"/>
          </ac:spMkLst>
        </pc:spChg>
        <pc:spChg chg="del mod ord">
          <ac:chgData name="Mikami, Maho" userId="50612f1b-df2d-47bb-8fdd-7ddedc83fc7e" providerId="ADAL" clId="{5CBE12F2-F3C8-4DCE-AD77-5EBD7EED8DBF}" dt="2024-03-24T06:28:37.581" v="4352" actId="478"/>
          <ac:spMkLst>
            <pc:docMk/>
            <pc:sldMk cId="445871252" sldId="2146847625"/>
            <ac:spMk id="4" creationId="{AE506D56-80F0-47F2-0DE5-4219BE85B18E}"/>
          </ac:spMkLst>
        </pc:spChg>
        <pc:spChg chg="mod ord">
          <ac:chgData name="Mikami, Maho" userId="50612f1b-df2d-47bb-8fdd-7ddedc83fc7e" providerId="ADAL" clId="{5CBE12F2-F3C8-4DCE-AD77-5EBD7EED8DBF}" dt="2024-03-24T06:28:26.113" v="4314"/>
          <ac:spMkLst>
            <pc:docMk/>
            <pc:sldMk cId="445871252" sldId="2146847625"/>
            <ac:spMk id="5" creationId="{D2F0D70F-ABDE-11A7-3BA0-1CD22F0EFEFA}"/>
          </ac:spMkLst>
        </pc:spChg>
        <pc:spChg chg="mod ord">
          <ac:chgData name="Mikami, Maho" userId="50612f1b-df2d-47bb-8fdd-7ddedc83fc7e" providerId="ADAL" clId="{5CBE12F2-F3C8-4DCE-AD77-5EBD7EED8DBF}" dt="2024-03-24T06:28:59.854" v="4354" actId="1076"/>
          <ac:spMkLst>
            <pc:docMk/>
            <pc:sldMk cId="445871252" sldId="2146847625"/>
            <ac:spMk id="6" creationId="{D0B0D116-FBCC-4FD9-948F-36682F868471}"/>
          </ac:spMkLst>
        </pc:spChg>
        <pc:spChg chg="mod ord">
          <ac:chgData name="Mikami, Maho" userId="50612f1b-df2d-47bb-8fdd-7ddedc83fc7e" providerId="ADAL" clId="{5CBE12F2-F3C8-4DCE-AD77-5EBD7EED8DBF}" dt="2024-03-24T06:28:26.103" v="4312"/>
          <ac:spMkLst>
            <pc:docMk/>
            <pc:sldMk cId="445871252" sldId="2146847625"/>
            <ac:spMk id="7" creationId="{D4FC4FD3-B88C-2342-AFB3-E2DD74234D8C}"/>
          </ac:spMkLst>
        </pc:spChg>
        <pc:spChg chg="del">
          <ac:chgData name="Mikami, Maho" userId="50612f1b-df2d-47bb-8fdd-7ddedc83fc7e" providerId="ADAL" clId="{5CBE12F2-F3C8-4DCE-AD77-5EBD7EED8DBF}" dt="2024-03-24T04:15:07.977" v="2219" actId="478"/>
          <ac:spMkLst>
            <pc:docMk/>
            <pc:sldMk cId="445871252" sldId="2146847625"/>
            <ac:spMk id="9" creationId="{991227FB-4C9A-E248-14FF-66A1DF102BFA}"/>
          </ac:spMkLst>
        </pc:spChg>
        <pc:spChg chg="add mod ord">
          <ac:chgData name="Mikami, Maho" userId="50612f1b-df2d-47bb-8fdd-7ddedc83fc7e" providerId="ADAL" clId="{5CBE12F2-F3C8-4DCE-AD77-5EBD7EED8DBF}" dt="2024-03-24T06:28:26.114" v="4322"/>
          <ac:spMkLst>
            <pc:docMk/>
            <pc:sldMk cId="445871252" sldId="2146847625"/>
            <ac:spMk id="10" creationId="{467D94E1-23FE-DB46-1849-29D0232CCC6D}"/>
          </ac:spMkLst>
        </pc:spChg>
        <pc:spChg chg="mod">
          <ac:chgData name="Mikami, Maho" userId="50612f1b-df2d-47bb-8fdd-7ddedc83fc7e" providerId="ADAL" clId="{5CBE12F2-F3C8-4DCE-AD77-5EBD7EED8DBF}" dt="2024-03-24T06:28:03.283" v="4282"/>
          <ac:spMkLst>
            <pc:docMk/>
            <pc:sldMk cId="445871252" sldId="2146847625"/>
            <ac:spMk id="18" creationId="{A1F1EC8C-46AD-7E60-CAEB-DD4B85E78737}"/>
          </ac:spMkLst>
        </pc:spChg>
        <pc:spChg chg="del">
          <ac:chgData name="Mikami, Maho" userId="50612f1b-df2d-47bb-8fdd-7ddedc83fc7e" providerId="ADAL" clId="{5CBE12F2-F3C8-4DCE-AD77-5EBD7EED8DBF}" dt="2024-03-24T04:49:45.177" v="2319" actId="478"/>
          <ac:spMkLst>
            <pc:docMk/>
            <pc:sldMk cId="445871252" sldId="2146847625"/>
            <ac:spMk id="20" creationId="{28C4B472-5620-D8B5-9BB8-37F2AB078B72}"/>
          </ac:spMkLst>
        </pc:spChg>
        <pc:spChg chg="del">
          <ac:chgData name="Mikami, Maho" userId="50612f1b-df2d-47bb-8fdd-7ddedc83fc7e" providerId="ADAL" clId="{5CBE12F2-F3C8-4DCE-AD77-5EBD7EED8DBF}" dt="2024-03-24T04:49:47.056" v="2320" actId="478"/>
          <ac:spMkLst>
            <pc:docMk/>
            <pc:sldMk cId="445871252" sldId="2146847625"/>
            <ac:spMk id="21" creationId="{6D7D675F-7F51-8E45-F04B-F161E22F7711}"/>
          </ac:spMkLst>
        </pc:spChg>
        <pc:spChg chg="del mod">
          <ac:chgData name="Mikami, Maho" userId="50612f1b-df2d-47bb-8fdd-7ddedc83fc7e" providerId="ADAL" clId="{5CBE12F2-F3C8-4DCE-AD77-5EBD7EED8DBF}" dt="2024-03-24T04:49:43.640" v="2318" actId="478"/>
          <ac:spMkLst>
            <pc:docMk/>
            <pc:sldMk cId="445871252" sldId="2146847625"/>
            <ac:spMk id="22" creationId="{E337757D-F67A-FB2A-9C39-5898E2AA1A0B}"/>
          </ac:spMkLst>
        </pc:spChg>
        <pc:spChg chg="mod">
          <ac:chgData name="Mikami, Maho" userId="50612f1b-df2d-47bb-8fdd-7ddedc83fc7e" providerId="ADAL" clId="{5CBE12F2-F3C8-4DCE-AD77-5EBD7EED8DBF}" dt="2024-03-24T06:28:03.283" v="4282"/>
          <ac:spMkLst>
            <pc:docMk/>
            <pc:sldMk cId="445871252" sldId="2146847625"/>
            <ac:spMk id="23" creationId="{13EC37AA-3B81-79F6-B909-392BCB4E860E}"/>
          </ac:spMkLst>
        </pc:spChg>
        <pc:spChg chg="mod">
          <ac:chgData name="Mikami, Maho" userId="50612f1b-df2d-47bb-8fdd-7ddedc83fc7e" providerId="ADAL" clId="{5CBE12F2-F3C8-4DCE-AD77-5EBD7EED8DBF}" dt="2024-03-24T06:28:03.283" v="4282"/>
          <ac:spMkLst>
            <pc:docMk/>
            <pc:sldMk cId="445871252" sldId="2146847625"/>
            <ac:spMk id="24" creationId="{8F0E9C64-4915-74DB-9ACB-5704F55C26C5}"/>
          </ac:spMkLst>
        </pc:spChg>
        <pc:spChg chg="mod">
          <ac:chgData name="Mikami, Maho" userId="50612f1b-df2d-47bb-8fdd-7ddedc83fc7e" providerId="ADAL" clId="{5CBE12F2-F3C8-4DCE-AD77-5EBD7EED8DBF}" dt="2024-03-24T06:28:03.283" v="4282"/>
          <ac:spMkLst>
            <pc:docMk/>
            <pc:sldMk cId="445871252" sldId="2146847625"/>
            <ac:spMk id="25" creationId="{7195BFEF-379C-1D1B-2551-A6024DEBD6C9}"/>
          </ac:spMkLst>
        </pc:spChg>
        <pc:spChg chg="mod">
          <ac:chgData name="Mikami, Maho" userId="50612f1b-df2d-47bb-8fdd-7ddedc83fc7e" providerId="ADAL" clId="{5CBE12F2-F3C8-4DCE-AD77-5EBD7EED8DBF}" dt="2024-03-24T06:28:03.283" v="4282"/>
          <ac:spMkLst>
            <pc:docMk/>
            <pc:sldMk cId="445871252" sldId="2146847625"/>
            <ac:spMk id="26" creationId="{54640E93-294F-4333-14DC-D56247588F9D}"/>
          </ac:spMkLst>
        </pc:spChg>
        <pc:spChg chg="mod">
          <ac:chgData name="Mikami, Maho" userId="50612f1b-df2d-47bb-8fdd-7ddedc83fc7e" providerId="ADAL" clId="{5CBE12F2-F3C8-4DCE-AD77-5EBD7EED8DBF}" dt="2024-03-24T06:28:03.283" v="4282"/>
          <ac:spMkLst>
            <pc:docMk/>
            <pc:sldMk cId="445871252" sldId="2146847625"/>
            <ac:spMk id="27" creationId="{3F7C9BFB-D2AD-BD42-1EB5-5318D988DF8E}"/>
          </ac:spMkLst>
        </pc:spChg>
        <pc:spChg chg="mod">
          <ac:chgData name="Mikami, Maho" userId="50612f1b-df2d-47bb-8fdd-7ddedc83fc7e" providerId="ADAL" clId="{5CBE12F2-F3C8-4DCE-AD77-5EBD7EED8DBF}" dt="2024-03-24T06:28:03.283" v="4282"/>
          <ac:spMkLst>
            <pc:docMk/>
            <pc:sldMk cId="445871252" sldId="2146847625"/>
            <ac:spMk id="28" creationId="{FD063A9D-631F-226E-FC79-905B04AE3E8D}"/>
          </ac:spMkLst>
        </pc:spChg>
        <pc:spChg chg="mod">
          <ac:chgData name="Mikami, Maho" userId="50612f1b-df2d-47bb-8fdd-7ddedc83fc7e" providerId="ADAL" clId="{5CBE12F2-F3C8-4DCE-AD77-5EBD7EED8DBF}" dt="2024-03-24T06:28:03.283" v="4282"/>
          <ac:spMkLst>
            <pc:docMk/>
            <pc:sldMk cId="445871252" sldId="2146847625"/>
            <ac:spMk id="29" creationId="{B207F1A5-4EAB-4B47-18C8-7A902E3F4E98}"/>
          </ac:spMkLst>
        </pc:spChg>
        <pc:spChg chg="mod">
          <ac:chgData name="Mikami, Maho" userId="50612f1b-df2d-47bb-8fdd-7ddedc83fc7e" providerId="ADAL" clId="{5CBE12F2-F3C8-4DCE-AD77-5EBD7EED8DBF}" dt="2024-03-24T06:28:03.283" v="4282"/>
          <ac:spMkLst>
            <pc:docMk/>
            <pc:sldMk cId="445871252" sldId="2146847625"/>
            <ac:spMk id="30" creationId="{DC306800-510A-4300-67B7-706A084E8C1B}"/>
          </ac:spMkLst>
        </pc:spChg>
        <pc:spChg chg="mod">
          <ac:chgData name="Mikami, Maho" userId="50612f1b-df2d-47bb-8fdd-7ddedc83fc7e" providerId="ADAL" clId="{5CBE12F2-F3C8-4DCE-AD77-5EBD7EED8DBF}" dt="2024-03-24T06:28:03.283" v="4282"/>
          <ac:spMkLst>
            <pc:docMk/>
            <pc:sldMk cId="445871252" sldId="2146847625"/>
            <ac:spMk id="33" creationId="{585D4828-BCAB-FCBD-E666-6A7046751318}"/>
          </ac:spMkLst>
        </pc:spChg>
        <pc:spChg chg="mod">
          <ac:chgData name="Mikami, Maho" userId="50612f1b-df2d-47bb-8fdd-7ddedc83fc7e" providerId="ADAL" clId="{5CBE12F2-F3C8-4DCE-AD77-5EBD7EED8DBF}" dt="2024-03-24T06:28:03.283" v="4282"/>
          <ac:spMkLst>
            <pc:docMk/>
            <pc:sldMk cId="445871252" sldId="2146847625"/>
            <ac:spMk id="34" creationId="{DF32403C-78E3-600F-F595-6BA5B50AB710}"/>
          </ac:spMkLst>
        </pc:spChg>
        <pc:spChg chg="mod">
          <ac:chgData name="Mikami, Maho" userId="50612f1b-df2d-47bb-8fdd-7ddedc83fc7e" providerId="ADAL" clId="{5CBE12F2-F3C8-4DCE-AD77-5EBD7EED8DBF}" dt="2024-03-24T06:28:03.283" v="4282"/>
          <ac:spMkLst>
            <pc:docMk/>
            <pc:sldMk cId="445871252" sldId="2146847625"/>
            <ac:spMk id="35" creationId="{E751BC77-B6A4-A832-279D-388B8CD0E83A}"/>
          </ac:spMkLst>
        </pc:spChg>
        <pc:spChg chg="mod">
          <ac:chgData name="Mikami, Maho" userId="50612f1b-df2d-47bb-8fdd-7ddedc83fc7e" providerId="ADAL" clId="{5CBE12F2-F3C8-4DCE-AD77-5EBD7EED8DBF}" dt="2024-03-24T06:28:03.283" v="4282"/>
          <ac:spMkLst>
            <pc:docMk/>
            <pc:sldMk cId="445871252" sldId="2146847625"/>
            <ac:spMk id="36" creationId="{D7A815E2-6AB1-9B38-E171-365EB46DBCF6}"/>
          </ac:spMkLst>
        </pc:spChg>
        <pc:spChg chg="mod">
          <ac:chgData name="Mikami, Maho" userId="50612f1b-df2d-47bb-8fdd-7ddedc83fc7e" providerId="ADAL" clId="{5CBE12F2-F3C8-4DCE-AD77-5EBD7EED8DBF}" dt="2024-03-24T06:28:03.283" v="4282"/>
          <ac:spMkLst>
            <pc:docMk/>
            <pc:sldMk cId="445871252" sldId="2146847625"/>
            <ac:spMk id="37" creationId="{E0BE631B-70A7-1CB8-2FD9-159232C76F71}"/>
          </ac:spMkLst>
        </pc:spChg>
        <pc:spChg chg="mod">
          <ac:chgData name="Mikami, Maho" userId="50612f1b-df2d-47bb-8fdd-7ddedc83fc7e" providerId="ADAL" clId="{5CBE12F2-F3C8-4DCE-AD77-5EBD7EED8DBF}" dt="2024-03-24T06:28:03.283" v="4282"/>
          <ac:spMkLst>
            <pc:docMk/>
            <pc:sldMk cId="445871252" sldId="2146847625"/>
            <ac:spMk id="38" creationId="{AB513DA6-2E20-05BC-CE1A-EFA5E1E080FB}"/>
          </ac:spMkLst>
        </pc:spChg>
        <pc:spChg chg="mod">
          <ac:chgData name="Mikami, Maho" userId="50612f1b-df2d-47bb-8fdd-7ddedc83fc7e" providerId="ADAL" clId="{5CBE12F2-F3C8-4DCE-AD77-5EBD7EED8DBF}" dt="2024-03-24T06:28:03.283" v="4282"/>
          <ac:spMkLst>
            <pc:docMk/>
            <pc:sldMk cId="445871252" sldId="2146847625"/>
            <ac:spMk id="39" creationId="{F8F5491C-0C88-74A3-EC31-3BEB73FB632A}"/>
          </ac:spMkLst>
        </pc:spChg>
        <pc:spChg chg="mod">
          <ac:chgData name="Mikami, Maho" userId="50612f1b-df2d-47bb-8fdd-7ddedc83fc7e" providerId="ADAL" clId="{5CBE12F2-F3C8-4DCE-AD77-5EBD7EED8DBF}" dt="2024-03-24T06:28:03.283" v="4282"/>
          <ac:spMkLst>
            <pc:docMk/>
            <pc:sldMk cId="445871252" sldId="2146847625"/>
            <ac:spMk id="41" creationId="{1BE4DD73-928D-CF87-8BA6-CD778D224A01}"/>
          </ac:spMkLst>
        </pc:spChg>
        <pc:spChg chg="mod">
          <ac:chgData name="Mikami, Maho" userId="50612f1b-df2d-47bb-8fdd-7ddedc83fc7e" providerId="ADAL" clId="{5CBE12F2-F3C8-4DCE-AD77-5EBD7EED8DBF}" dt="2024-03-24T06:28:03.283" v="4282"/>
          <ac:spMkLst>
            <pc:docMk/>
            <pc:sldMk cId="445871252" sldId="2146847625"/>
            <ac:spMk id="42" creationId="{A5F42E6B-71B5-4B20-F0DF-27CD4E1CFF29}"/>
          </ac:spMkLst>
        </pc:spChg>
        <pc:spChg chg="mod">
          <ac:chgData name="Mikami, Maho" userId="50612f1b-df2d-47bb-8fdd-7ddedc83fc7e" providerId="ADAL" clId="{5CBE12F2-F3C8-4DCE-AD77-5EBD7EED8DBF}" dt="2024-03-24T06:28:03.283" v="4282"/>
          <ac:spMkLst>
            <pc:docMk/>
            <pc:sldMk cId="445871252" sldId="2146847625"/>
            <ac:spMk id="46" creationId="{56706E4C-71E6-D5CE-80CF-739404B8FDD8}"/>
          </ac:spMkLst>
        </pc:spChg>
        <pc:spChg chg="mod">
          <ac:chgData name="Mikami, Maho" userId="50612f1b-df2d-47bb-8fdd-7ddedc83fc7e" providerId="ADAL" clId="{5CBE12F2-F3C8-4DCE-AD77-5EBD7EED8DBF}" dt="2024-03-24T06:28:03.283" v="4282"/>
          <ac:spMkLst>
            <pc:docMk/>
            <pc:sldMk cId="445871252" sldId="2146847625"/>
            <ac:spMk id="47" creationId="{9491A79A-65F8-F86F-64A2-C28235717FE7}"/>
          </ac:spMkLst>
        </pc:spChg>
        <pc:spChg chg="mod">
          <ac:chgData name="Mikami, Maho" userId="50612f1b-df2d-47bb-8fdd-7ddedc83fc7e" providerId="ADAL" clId="{5CBE12F2-F3C8-4DCE-AD77-5EBD7EED8DBF}" dt="2024-03-24T06:28:03.283" v="4282"/>
          <ac:spMkLst>
            <pc:docMk/>
            <pc:sldMk cId="445871252" sldId="2146847625"/>
            <ac:spMk id="51" creationId="{586D05DF-1EA6-9CDE-B207-F6E7E51088DA}"/>
          </ac:spMkLst>
        </pc:spChg>
        <pc:spChg chg="mod">
          <ac:chgData name="Mikami, Maho" userId="50612f1b-df2d-47bb-8fdd-7ddedc83fc7e" providerId="ADAL" clId="{5CBE12F2-F3C8-4DCE-AD77-5EBD7EED8DBF}" dt="2024-03-24T06:28:03.283" v="4282"/>
          <ac:spMkLst>
            <pc:docMk/>
            <pc:sldMk cId="445871252" sldId="2146847625"/>
            <ac:spMk id="56" creationId="{95E27F2E-9CD7-B242-4A76-B2ED8A2FA852}"/>
          </ac:spMkLst>
        </pc:spChg>
        <pc:spChg chg="mod">
          <ac:chgData name="Mikami, Maho" userId="50612f1b-df2d-47bb-8fdd-7ddedc83fc7e" providerId="ADAL" clId="{5CBE12F2-F3C8-4DCE-AD77-5EBD7EED8DBF}" dt="2024-03-24T06:28:03.283" v="4282"/>
          <ac:spMkLst>
            <pc:docMk/>
            <pc:sldMk cId="445871252" sldId="2146847625"/>
            <ac:spMk id="57" creationId="{07802210-EBB0-E445-AEB0-227596D5D033}"/>
          </ac:spMkLst>
        </pc:spChg>
        <pc:spChg chg="mod">
          <ac:chgData name="Mikami, Maho" userId="50612f1b-df2d-47bb-8fdd-7ddedc83fc7e" providerId="ADAL" clId="{5CBE12F2-F3C8-4DCE-AD77-5EBD7EED8DBF}" dt="2024-03-24T06:28:03.283" v="4282"/>
          <ac:spMkLst>
            <pc:docMk/>
            <pc:sldMk cId="445871252" sldId="2146847625"/>
            <ac:spMk id="58" creationId="{D13C5994-FBF1-D585-6669-7CB8173AF624}"/>
          </ac:spMkLst>
        </pc:spChg>
        <pc:spChg chg="mod">
          <ac:chgData name="Mikami, Maho" userId="50612f1b-df2d-47bb-8fdd-7ddedc83fc7e" providerId="ADAL" clId="{5CBE12F2-F3C8-4DCE-AD77-5EBD7EED8DBF}" dt="2024-03-24T06:28:03.283" v="4282"/>
          <ac:spMkLst>
            <pc:docMk/>
            <pc:sldMk cId="445871252" sldId="2146847625"/>
            <ac:spMk id="66" creationId="{4B3554AF-980F-1A77-6739-93381257A921}"/>
          </ac:spMkLst>
        </pc:spChg>
        <pc:spChg chg="mod">
          <ac:chgData name="Mikami, Maho" userId="50612f1b-df2d-47bb-8fdd-7ddedc83fc7e" providerId="ADAL" clId="{5CBE12F2-F3C8-4DCE-AD77-5EBD7EED8DBF}" dt="2024-03-24T06:28:03.283" v="4282"/>
          <ac:spMkLst>
            <pc:docMk/>
            <pc:sldMk cId="445871252" sldId="2146847625"/>
            <ac:spMk id="67" creationId="{7BC54FD7-845A-DF08-1EFB-384E215CCC10}"/>
          </ac:spMkLst>
        </pc:spChg>
        <pc:spChg chg="mod">
          <ac:chgData name="Mikami, Maho" userId="50612f1b-df2d-47bb-8fdd-7ddedc83fc7e" providerId="ADAL" clId="{5CBE12F2-F3C8-4DCE-AD77-5EBD7EED8DBF}" dt="2024-03-24T06:28:14.153" v="4286"/>
          <ac:spMkLst>
            <pc:docMk/>
            <pc:sldMk cId="445871252" sldId="2146847625"/>
            <ac:spMk id="69" creationId="{B46AC612-8C23-D329-E47E-88388657A05F}"/>
          </ac:spMkLst>
        </pc:spChg>
        <pc:spChg chg="mod">
          <ac:chgData name="Mikami, Maho" userId="50612f1b-df2d-47bb-8fdd-7ddedc83fc7e" providerId="ADAL" clId="{5CBE12F2-F3C8-4DCE-AD77-5EBD7EED8DBF}" dt="2024-03-24T06:28:14.153" v="4286"/>
          <ac:spMkLst>
            <pc:docMk/>
            <pc:sldMk cId="445871252" sldId="2146847625"/>
            <ac:spMk id="70" creationId="{AD821757-5A77-F57B-A08F-BEA1A8CB326B}"/>
          </ac:spMkLst>
        </pc:spChg>
        <pc:spChg chg="mod">
          <ac:chgData name="Mikami, Maho" userId="50612f1b-df2d-47bb-8fdd-7ddedc83fc7e" providerId="ADAL" clId="{5CBE12F2-F3C8-4DCE-AD77-5EBD7EED8DBF}" dt="2024-03-24T06:28:14.153" v="4286"/>
          <ac:spMkLst>
            <pc:docMk/>
            <pc:sldMk cId="445871252" sldId="2146847625"/>
            <ac:spMk id="71" creationId="{A183A815-FBBC-23CB-4A88-E0AE1FFFF869}"/>
          </ac:spMkLst>
        </pc:spChg>
        <pc:spChg chg="mod">
          <ac:chgData name="Mikami, Maho" userId="50612f1b-df2d-47bb-8fdd-7ddedc83fc7e" providerId="ADAL" clId="{5CBE12F2-F3C8-4DCE-AD77-5EBD7EED8DBF}" dt="2024-03-24T06:28:14.153" v="4286"/>
          <ac:spMkLst>
            <pc:docMk/>
            <pc:sldMk cId="445871252" sldId="2146847625"/>
            <ac:spMk id="72" creationId="{B8623B39-B313-C952-1836-0044280209FA}"/>
          </ac:spMkLst>
        </pc:spChg>
        <pc:spChg chg="mod">
          <ac:chgData name="Mikami, Maho" userId="50612f1b-df2d-47bb-8fdd-7ddedc83fc7e" providerId="ADAL" clId="{5CBE12F2-F3C8-4DCE-AD77-5EBD7EED8DBF}" dt="2024-03-24T06:28:14.153" v="4286"/>
          <ac:spMkLst>
            <pc:docMk/>
            <pc:sldMk cId="445871252" sldId="2146847625"/>
            <ac:spMk id="73" creationId="{2BC4BA17-9102-7000-BEC9-FAB9601A52ED}"/>
          </ac:spMkLst>
        </pc:spChg>
        <pc:spChg chg="mod">
          <ac:chgData name="Mikami, Maho" userId="50612f1b-df2d-47bb-8fdd-7ddedc83fc7e" providerId="ADAL" clId="{5CBE12F2-F3C8-4DCE-AD77-5EBD7EED8DBF}" dt="2024-03-24T06:28:14.153" v="4286"/>
          <ac:spMkLst>
            <pc:docMk/>
            <pc:sldMk cId="445871252" sldId="2146847625"/>
            <ac:spMk id="74" creationId="{1BC97B27-766D-5C75-F173-32C04F7C5A39}"/>
          </ac:spMkLst>
        </pc:spChg>
        <pc:spChg chg="mod">
          <ac:chgData name="Mikami, Maho" userId="50612f1b-df2d-47bb-8fdd-7ddedc83fc7e" providerId="ADAL" clId="{5CBE12F2-F3C8-4DCE-AD77-5EBD7EED8DBF}" dt="2024-03-24T06:28:14.153" v="4286"/>
          <ac:spMkLst>
            <pc:docMk/>
            <pc:sldMk cId="445871252" sldId="2146847625"/>
            <ac:spMk id="75" creationId="{8C7FC280-B06C-F1B4-E9A3-D3C7CC378A04}"/>
          </ac:spMkLst>
        </pc:spChg>
        <pc:spChg chg="mod">
          <ac:chgData name="Mikami, Maho" userId="50612f1b-df2d-47bb-8fdd-7ddedc83fc7e" providerId="ADAL" clId="{5CBE12F2-F3C8-4DCE-AD77-5EBD7EED8DBF}" dt="2024-03-24T06:28:14.153" v="4286"/>
          <ac:spMkLst>
            <pc:docMk/>
            <pc:sldMk cId="445871252" sldId="2146847625"/>
            <ac:spMk id="76" creationId="{E4819C67-6BBE-F771-6CC3-7820A233A338}"/>
          </ac:spMkLst>
        </pc:spChg>
        <pc:spChg chg="mod">
          <ac:chgData name="Mikami, Maho" userId="50612f1b-df2d-47bb-8fdd-7ddedc83fc7e" providerId="ADAL" clId="{5CBE12F2-F3C8-4DCE-AD77-5EBD7EED8DBF}" dt="2024-03-24T06:28:14.153" v="4286"/>
          <ac:spMkLst>
            <pc:docMk/>
            <pc:sldMk cId="445871252" sldId="2146847625"/>
            <ac:spMk id="77" creationId="{D656469A-F5B3-A3C8-D1A5-D1B56D9F5E97}"/>
          </ac:spMkLst>
        </pc:spChg>
        <pc:spChg chg="mod">
          <ac:chgData name="Mikami, Maho" userId="50612f1b-df2d-47bb-8fdd-7ddedc83fc7e" providerId="ADAL" clId="{5CBE12F2-F3C8-4DCE-AD77-5EBD7EED8DBF}" dt="2024-03-24T06:28:14.153" v="4286"/>
          <ac:spMkLst>
            <pc:docMk/>
            <pc:sldMk cId="445871252" sldId="2146847625"/>
            <ac:spMk id="80" creationId="{DD39E46F-1553-FF68-1064-7A71D23EAB6C}"/>
          </ac:spMkLst>
        </pc:spChg>
        <pc:spChg chg="mod">
          <ac:chgData name="Mikami, Maho" userId="50612f1b-df2d-47bb-8fdd-7ddedc83fc7e" providerId="ADAL" clId="{5CBE12F2-F3C8-4DCE-AD77-5EBD7EED8DBF}" dt="2024-03-24T06:28:14.153" v="4286"/>
          <ac:spMkLst>
            <pc:docMk/>
            <pc:sldMk cId="445871252" sldId="2146847625"/>
            <ac:spMk id="81" creationId="{E0A90A0C-D439-5DF6-3110-D707AF24AF84}"/>
          </ac:spMkLst>
        </pc:spChg>
        <pc:spChg chg="mod">
          <ac:chgData name="Mikami, Maho" userId="50612f1b-df2d-47bb-8fdd-7ddedc83fc7e" providerId="ADAL" clId="{5CBE12F2-F3C8-4DCE-AD77-5EBD7EED8DBF}" dt="2024-03-24T06:28:14.153" v="4286"/>
          <ac:spMkLst>
            <pc:docMk/>
            <pc:sldMk cId="445871252" sldId="2146847625"/>
            <ac:spMk id="82" creationId="{67E43A8D-6506-D18F-2636-600582A1BD46}"/>
          </ac:spMkLst>
        </pc:spChg>
        <pc:spChg chg="mod">
          <ac:chgData name="Mikami, Maho" userId="50612f1b-df2d-47bb-8fdd-7ddedc83fc7e" providerId="ADAL" clId="{5CBE12F2-F3C8-4DCE-AD77-5EBD7EED8DBF}" dt="2024-03-24T06:28:14.153" v="4286"/>
          <ac:spMkLst>
            <pc:docMk/>
            <pc:sldMk cId="445871252" sldId="2146847625"/>
            <ac:spMk id="83" creationId="{F19BBC46-5913-1716-9FFE-F1E2D8C6CF5A}"/>
          </ac:spMkLst>
        </pc:spChg>
        <pc:spChg chg="mod">
          <ac:chgData name="Mikami, Maho" userId="50612f1b-df2d-47bb-8fdd-7ddedc83fc7e" providerId="ADAL" clId="{5CBE12F2-F3C8-4DCE-AD77-5EBD7EED8DBF}" dt="2024-03-24T06:28:14.153" v="4286"/>
          <ac:spMkLst>
            <pc:docMk/>
            <pc:sldMk cId="445871252" sldId="2146847625"/>
            <ac:spMk id="84" creationId="{2F9B0CB8-E0BD-D728-7EE0-7983DB6F7CF3}"/>
          </ac:spMkLst>
        </pc:spChg>
        <pc:spChg chg="mod">
          <ac:chgData name="Mikami, Maho" userId="50612f1b-df2d-47bb-8fdd-7ddedc83fc7e" providerId="ADAL" clId="{5CBE12F2-F3C8-4DCE-AD77-5EBD7EED8DBF}" dt="2024-03-24T06:28:14.153" v="4286"/>
          <ac:spMkLst>
            <pc:docMk/>
            <pc:sldMk cId="445871252" sldId="2146847625"/>
            <ac:spMk id="85" creationId="{DE2F48D1-3F3C-6B82-8E00-5C0241C94B2D}"/>
          </ac:spMkLst>
        </pc:spChg>
        <pc:spChg chg="mod">
          <ac:chgData name="Mikami, Maho" userId="50612f1b-df2d-47bb-8fdd-7ddedc83fc7e" providerId="ADAL" clId="{5CBE12F2-F3C8-4DCE-AD77-5EBD7EED8DBF}" dt="2024-03-24T06:28:14.153" v="4286"/>
          <ac:spMkLst>
            <pc:docMk/>
            <pc:sldMk cId="445871252" sldId="2146847625"/>
            <ac:spMk id="86" creationId="{5D32D3EE-CE14-01CE-1F89-EE38913C243D}"/>
          </ac:spMkLst>
        </pc:spChg>
        <pc:spChg chg="mod">
          <ac:chgData name="Mikami, Maho" userId="50612f1b-df2d-47bb-8fdd-7ddedc83fc7e" providerId="ADAL" clId="{5CBE12F2-F3C8-4DCE-AD77-5EBD7EED8DBF}" dt="2024-03-24T06:28:14.153" v="4286"/>
          <ac:spMkLst>
            <pc:docMk/>
            <pc:sldMk cId="445871252" sldId="2146847625"/>
            <ac:spMk id="88" creationId="{A37B4C03-D3FF-39F0-92E9-7BA4D86489C8}"/>
          </ac:spMkLst>
        </pc:spChg>
        <pc:spChg chg="mod">
          <ac:chgData name="Mikami, Maho" userId="50612f1b-df2d-47bb-8fdd-7ddedc83fc7e" providerId="ADAL" clId="{5CBE12F2-F3C8-4DCE-AD77-5EBD7EED8DBF}" dt="2024-03-24T06:28:14.153" v="4286"/>
          <ac:spMkLst>
            <pc:docMk/>
            <pc:sldMk cId="445871252" sldId="2146847625"/>
            <ac:spMk id="89" creationId="{84FC4DB4-B9C3-8935-262D-B591D12045D6}"/>
          </ac:spMkLst>
        </pc:spChg>
        <pc:spChg chg="mod">
          <ac:chgData name="Mikami, Maho" userId="50612f1b-df2d-47bb-8fdd-7ddedc83fc7e" providerId="ADAL" clId="{5CBE12F2-F3C8-4DCE-AD77-5EBD7EED8DBF}" dt="2024-03-24T06:28:14.153" v="4286"/>
          <ac:spMkLst>
            <pc:docMk/>
            <pc:sldMk cId="445871252" sldId="2146847625"/>
            <ac:spMk id="93" creationId="{6BD10B53-89BE-F6B1-899E-0FCA97AC0B92}"/>
          </ac:spMkLst>
        </pc:spChg>
        <pc:spChg chg="mod">
          <ac:chgData name="Mikami, Maho" userId="50612f1b-df2d-47bb-8fdd-7ddedc83fc7e" providerId="ADAL" clId="{5CBE12F2-F3C8-4DCE-AD77-5EBD7EED8DBF}" dt="2024-03-24T06:28:14.153" v="4286"/>
          <ac:spMkLst>
            <pc:docMk/>
            <pc:sldMk cId="445871252" sldId="2146847625"/>
            <ac:spMk id="94" creationId="{70FC5EAA-78F7-6DC7-A38D-49CBFA31FA1A}"/>
          </ac:spMkLst>
        </pc:spChg>
        <pc:spChg chg="mod">
          <ac:chgData name="Mikami, Maho" userId="50612f1b-df2d-47bb-8fdd-7ddedc83fc7e" providerId="ADAL" clId="{5CBE12F2-F3C8-4DCE-AD77-5EBD7EED8DBF}" dt="2024-03-24T06:28:14.153" v="4286"/>
          <ac:spMkLst>
            <pc:docMk/>
            <pc:sldMk cId="445871252" sldId="2146847625"/>
            <ac:spMk id="98" creationId="{DDCC0C9F-8B23-DFDE-1F04-7500EB05046D}"/>
          </ac:spMkLst>
        </pc:spChg>
        <pc:spChg chg="mod">
          <ac:chgData name="Mikami, Maho" userId="50612f1b-df2d-47bb-8fdd-7ddedc83fc7e" providerId="ADAL" clId="{5CBE12F2-F3C8-4DCE-AD77-5EBD7EED8DBF}" dt="2024-03-24T06:28:14.153" v="4286"/>
          <ac:spMkLst>
            <pc:docMk/>
            <pc:sldMk cId="445871252" sldId="2146847625"/>
            <ac:spMk id="103" creationId="{8914A798-A866-BE02-BC09-695F412A844F}"/>
          </ac:spMkLst>
        </pc:spChg>
        <pc:spChg chg="mod">
          <ac:chgData name="Mikami, Maho" userId="50612f1b-df2d-47bb-8fdd-7ddedc83fc7e" providerId="ADAL" clId="{5CBE12F2-F3C8-4DCE-AD77-5EBD7EED8DBF}" dt="2024-03-24T06:28:14.153" v="4286"/>
          <ac:spMkLst>
            <pc:docMk/>
            <pc:sldMk cId="445871252" sldId="2146847625"/>
            <ac:spMk id="104" creationId="{80724BF0-866D-06D2-9D02-B8162F4C9C99}"/>
          </ac:spMkLst>
        </pc:spChg>
        <pc:spChg chg="mod">
          <ac:chgData name="Mikami, Maho" userId="50612f1b-df2d-47bb-8fdd-7ddedc83fc7e" providerId="ADAL" clId="{5CBE12F2-F3C8-4DCE-AD77-5EBD7EED8DBF}" dt="2024-03-24T06:28:14.153" v="4286"/>
          <ac:spMkLst>
            <pc:docMk/>
            <pc:sldMk cId="445871252" sldId="2146847625"/>
            <ac:spMk id="105" creationId="{6822D99B-F848-4092-50D4-648C66CD87CD}"/>
          </ac:spMkLst>
        </pc:spChg>
        <pc:spChg chg="mod">
          <ac:chgData name="Mikami, Maho" userId="50612f1b-df2d-47bb-8fdd-7ddedc83fc7e" providerId="ADAL" clId="{5CBE12F2-F3C8-4DCE-AD77-5EBD7EED8DBF}" dt="2024-03-24T06:28:14.153" v="4286"/>
          <ac:spMkLst>
            <pc:docMk/>
            <pc:sldMk cId="445871252" sldId="2146847625"/>
            <ac:spMk id="113" creationId="{0B99C084-9F77-B688-F936-82EF00050128}"/>
          </ac:spMkLst>
        </pc:spChg>
        <pc:spChg chg="mod">
          <ac:chgData name="Mikami, Maho" userId="50612f1b-df2d-47bb-8fdd-7ddedc83fc7e" providerId="ADAL" clId="{5CBE12F2-F3C8-4DCE-AD77-5EBD7EED8DBF}" dt="2024-03-24T06:28:14.153" v="4286"/>
          <ac:spMkLst>
            <pc:docMk/>
            <pc:sldMk cId="445871252" sldId="2146847625"/>
            <ac:spMk id="114" creationId="{5FEC17B2-69F1-4EAE-BFEA-8C39BC03556A}"/>
          </ac:spMkLst>
        </pc:spChg>
        <pc:spChg chg="mod">
          <ac:chgData name="Mikami, Maho" userId="50612f1b-df2d-47bb-8fdd-7ddedc83fc7e" providerId="ADAL" clId="{5CBE12F2-F3C8-4DCE-AD77-5EBD7EED8DBF}" dt="2024-03-24T06:28:15.719" v="4287"/>
          <ac:spMkLst>
            <pc:docMk/>
            <pc:sldMk cId="445871252" sldId="2146847625"/>
            <ac:spMk id="116" creationId="{D6EC590E-2810-5A39-0DB3-88DF0C7682FA}"/>
          </ac:spMkLst>
        </pc:spChg>
        <pc:spChg chg="mod">
          <ac:chgData name="Mikami, Maho" userId="50612f1b-df2d-47bb-8fdd-7ddedc83fc7e" providerId="ADAL" clId="{5CBE12F2-F3C8-4DCE-AD77-5EBD7EED8DBF}" dt="2024-03-24T06:28:15.719" v="4287"/>
          <ac:spMkLst>
            <pc:docMk/>
            <pc:sldMk cId="445871252" sldId="2146847625"/>
            <ac:spMk id="117" creationId="{7152A324-CEF3-5AF0-E7F3-D6CB38D34178}"/>
          </ac:spMkLst>
        </pc:spChg>
        <pc:spChg chg="mod">
          <ac:chgData name="Mikami, Maho" userId="50612f1b-df2d-47bb-8fdd-7ddedc83fc7e" providerId="ADAL" clId="{5CBE12F2-F3C8-4DCE-AD77-5EBD7EED8DBF}" dt="2024-03-24T06:28:15.719" v="4287"/>
          <ac:spMkLst>
            <pc:docMk/>
            <pc:sldMk cId="445871252" sldId="2146847625"/>
            <ac:spMk id="118" creationId="{1C152335-8C76-7E36-394B-F58B5AE43CC5}"/>
          </ac:spMkLst>
        </pc:spChg>
        <pc:spChg chg="mod">
          <ac:chgData name="Mikami, Maho" userId="50612f1b-df2d-47bb-8fdd-7ddedc83fc7e" providerId="ADAL" clId="{5CBE12F2-F3C8-4DCE-AD77-5EBD7EED8DBF}" dt="2024-03-24T06:28:15.719" v="4287"/>
          <ac:spMkLst>
            <pc:docMk/>
            <pc:sldMk cId="445871252" sldId="2146847625"/>
            <ac:spMk id="119" creationId="{52215782-1A5F-13EE-6E47-8B6A82B77D93}"/>
          </ac:spMkLst>
        </pc:spChg>
        <pc:spChg chg="mod">
          <ac:chgData name="Mikami, Maho" userId="50612f1b-df2d-47bb-8fdd-7ddedc83fc7e" providerId="ADAL" clId="{5CBE12F2-F3C8-4DCE-AD77-5EBD7EED8DBF}" dt="2024-03-24T06:28:15.719" v="4287"/>
          <ac:spMkLst>
            <pc:docMk/>
            <pc:sldMk cId="445871252" sldId="2146847625"/>
            <ac:spMk id="120" creationId="{291DC4D8-ABC6-873F-9550-C6EEF642175C}"/>
          </ac:spMkLst>
        </pc:spChg>
        <pc:spChg chg="mod">
          <ac:chgData name="Mikami, Maho" userId="50612f1b-df2d-47bb-8fdd-7ddedc83fc7e" providerId="ADAL" clId="{5CBE12F2-F3C8-4DCE-AD77-5EBD7EED8DBF}" dt="2024-03-24T06:28:15.719" v="4287"/>
          <ac:spMkLst>
            <pc:docMk/>
            <pc:sldMk cId="445871252" sldId="2146847625"/>
            <ac:spMk id="121" creationId="{A25B42D4-A6B0-8D81-96E8-38B3EA88A185}"/>
          </ac:spMkLst>
        </pc:spChg>
        <pc:spChg chg="mod">
          <ac:chgData name="Mikami, Maho" userId="50612f1b-df2d-47bb-8fdd-7ddedc83fc7e" providerId="ADAL" clId="{5CBE12F2-F3C8-4DCE-AD77-5EBD7EED8DBF}" dt="2024-03-24T06:28:15.719" v="4287"/>
          <ac:spMkLst>
            <pc:docMk/>
            <pc:sldMk cId="445871252" sldId="2146847625"/>
            <ac:spMk id="122" creationId="{B6950930-4873-DEB5-1B92-743405B9E0E7}"/>
          </ac:spMkLst>
        </pc:spChg>
        <pc:spChg chg="mod">
          <ac:chgData name="Mikami, Maho" userId="50612f1b-df2d-47bb-8fdd-7ddedc83fc7e" providerId="ADAL" clId="{5CBE12F2-F3C8-4DCE-AD77-5EBD7EED8DBF}" dt="2024-03-24T06:28:15.719" v="4287"/>
          <ac:spMkLst>
            <pc:docMk/>
            <pc:sldMk cId="445871252" sldId="2146847625"/>
            <ac:spMk id="123" creationId="{96C021AB-209B-46FC-DEFD-9189BEF0C90A}"/>
          </ac:spMkLst>
        </pc:spChg>
        <pc:spChg chg="mod">
          <ac:chgData name="Mikami, Maho" userId="50612f1b-df2d-47bb-8fdd-7ddedc83fc7e" providerId="ADAL" clId="{5CBE12F2-F3C8-4DCE-AD77-5EBD7EED8DBF}" dt="2024-03-24T06:28:15.719" v="4287"/>
          <ac:spMkLst>
            <pc:docMk/>
            <pc:sldMk cId="445871252" sldId="2146847625"/>
            <ac:spMk id="124" creationId="{C859AF17-704D-C23C-D70F-7EF699DBB1A3}"/>
          </ac:spMkLst>
        </pc:spChg>
        <pc:spChg chg="mod">
          <ac:chgData name="Mikami, Maho" userId="50612f1b-df2d-47bb-8fdd-7ddedc83fc7e" providerId="ADAL" clId="{5CBE12F2-F3C8-4DCE-AD77-5EBD7EED8DBF}" dt="2024-03-24T06:28:15.719" v="4287"/>
          <ac:spMkLst>
            <pc:docMk/>
            <pc:sldMk cId="445871252" sldId="2146847625"/>
            <ac:spMk id="127" creationId="{1FB0ABDD-3CCC-C28C-DE51-9DA70644834D}"/>
          </ac:spMkLst>
        </pc:spChg>
        <pc:spChg chg="mod">
          <ac:chgData name="Mikami, Maho" userId="50612f1b-df2d-47bb-8fdd-7ddedc83fc7e" providerId="ADAL" clId="{5CBE12F2-F3C8-4DCE-AD77-5EBD7EED8DBF}" dt="2024-03-24T06:28:15.719" v="4287"/>
          <ac:spMkLst>
            <pc:docMk/>
            <pc:sldMk cId="445871252" sldId="2146847625"/>
            <ac:spMk id="128" creationId="{4D8D71BE-F200-E5C1-B9D2-F3A09D36E56D}"/>
          </ac:spMkLst>
        </pc:spChg>
        <pc:spChg chg="mod">
          <ac:chgData name="Mikami, Maho" userId="50612f1b-df2d-47bb-8fdd-7ddedc83fc7e" providerId="ADAL" clId="{5CBE12F2-F3C8-4DCE-AD77-5EBD7EED8DBF}" dt="2024-03-24T06:28:15.719" v="4287"/>
          <ac:spMkLst>
            <pc:docMk/>
            <pc:sldMk cId="445871252" sldId="2146847625"/>
            <ac:spMk id="129" creationId="{A5EA18AF-4380-0357-18E1-7A8B32520523}"/>
          </ac:spMkLst>
        </pc:spChg>
        <pc:spChg chg="mod">
          <ac:chgData name="Mikami, Maho" userId="50612f1b-df2d-47bb-8fdd-7ddedc83fc7e" providerId="ADAL" clId="{5CBE12F2-F3C8-4DCE-AD77-5EBD7EED8DBF}" dt="2024-03-24T06:28:15.719" v="4287"/>
          <ac:spMkLst>
            <pc:docMk/>
            <pc:sldMk cId="445871252" sldId="2146847625"/>
            <ac:spMk id="130" creationId="{4565280D-7E0C-67E3-78A0-87D2B4DF0B94}"/>
          </ac:spMkLst>
        </pc:spChg>
        <pc:spChg chg="mod">
          <ac:chgData name="Mikami, Maho" userId="50612f1b-df2d-47bb-8fdd-7ddedc83fc7e" providerId="ADAL" clId="{5CBE12F2-F3C8-4DCE-AD77-5EBD7EED8DBF}" dt="2024-03-24T06:28:15.719" v="4287"/>
          <ac:spMkLst>
            <pc:docMk/>
            <pc:sldMk cId="445871252" sldId="2146847625"/>
            <ac:spMk id="131" creationId="{8CC81339-87BA-93BD-B16C-127584728366}"/>
          </ac:spMkLst>
        </pc:spChg>
        <pc:spChg chg="mod">
          <ac:chgData name="Mikami, Maho" userId="50612f1b-df2d-47bb-8fdd-7ddedc83fc7e" providerId="ADAL" clId="{5CBE12F2-F3C8-4DCE-AD77-5EBD7EED8DBF}" dt="2024-03-24T06:28:15.719" v="4287"/>
          <ac:spMkLst>
            <pc:docMk/>
            <pc:sldMk cId="445871252" sldId="2146847625"/>
            <ac:spMk id="132" creationId="{D27FD9D2-4DB1-474A-B66E-A2BAEBACCDCA}"/>
          </ac:spMkLst>
        </pc:spChg>
        <pc:spChg chg="mod">
          <ac:chgData name="Mikami, Maho" userId="50612f1b-df2d-47bb-8fdd-7ddedc83fc7e" providerId="ADAL" clId="{5CBE12F2-F3C8-4DCE-AD77-5EBD7EED8DBF}" dt="2024-03-24T06:28:15.719" v="4287"/>
          <ac:spMkLst>
            <pc:docMk/>
            <pc:sldMk cId="445871252" sldId="2146847625"/>
            <ac:spMk id="133" creationId="{E7B1C3B4-B262-74DD-CA6C-FA72CDEB5D7A}"/>
          </ac:spMkLst>
        </pc:spChg>
        <pc:spChg chg="mod">
          <ac:chgData name="Mikami, Maho" userId="50612f1b-df2d-47bb-8fdd-7ddedc83fc7e" providerId="ADAL" clId="{5CBE12F2-F3C8-4DCE-AD77-5EBD7EED8DBF}" dt="2024-03-24T06:28:15.719" v="4287"/>
          <ac:spMkLst>
            <pc:docMk/>
            <pc:sldMk cId="445871252" sldId="2146847625"/>
            <ac:spMk id="135" creationId="{7FA7DCBA-C766-7B76-D33B-DF37ED6EE73D}"/>
          </ac:spMkLst>
        </pc:spChg>
        <pc:spChg chg="mod">
          <ac:chgData name="Mikami, Maho" userId="50612f1b-df2d-47bb-8fdd-7ddedc83fc7e" providerId="ADAL" clId="{5CBE12F2-F3C8-4DCE-AD77-5EBD7EED8DBF}" dt="2024-03-24T06:28:15.719" v="4287"/>
          <ac:spMkLst>
            <pc:docMk/>
            <pc:sldMk cId="445871252" sldId="2146847625"/>
            <ac:spMk id="136" creationId="{DFE94AF7-1B8C-9959-4AF7-25C79BD3A8EA}"/>
          </ac:spMkLst>
        </pc:spChg>
        <pc:spChg chg="mod">
          <ac:chgData name="Mikami, Maho" userId="50612f1b-df2d-47bb-8fdd-7ddedc83fc7e" providerId="ADAL" clId="{5CBE12F2-F3C8-4DCE-AD77-5EBD7EED8DBF}" dt="2024-03-24T06:28:15.719" v="4287"/>
          <ac:spMkLst>
            <pc:docMk/>
            <pc:sldMk cId="445871252" sldId="2146847625"/>
            <ac:spMk id="140" creationId="{76089A06-7640-E42D-8890-00DD3E5FB030}"/>
          </ac:spMkLst>
        </pc:spChg>
        <pc:spChg chg="mod">
          <ac:chgData name="Mikami, Maho" userId="50612f1b-df2d-47bb-8fdd-7ddedc83fc7e" providerId="ADAL" clId="{5CBE12F2-F3C8-4DCE-AD77-5EBD7EED8DBF}" dt="2024-03-24T06:28:15.719" v="4287"/>
          <ac:spMkLst>
            <pc:docMk/>
            <pc:sldMk cId="445871252" sldId="2146847625"/>
            <ac:spMk id="141" creationId="{A77496DD-F3A6-ACA6-A0C9-F1B2C8DDD3ED}"/>
          </ac:spMkLst>
        </pc:spChg>
        <pc:spChg chg="mod">
          <ac:chgData name="Mikami, Maho" userId="50612f1b-df2d-47bb-8fdd-7ddedc83fc7e" providerId="ADAL" clId="{5CBE12F2-F3C8-4DCE-AD77-5EBD7EED8DBF}" dt="2024-03-24T06:28:15.719" v="4287"/>
          <ac:spMkLst>
            <pc:docMk/>
            <pc:sldMk cId="445871252" sldId="2146847625"/>
            <ac:spMk id="145" creationId="{AD3DCC7C-41A6-1C98-70AD-E987909076A9}"/>
          </ac:spMkLst>
        </pc:spChg>
        <pc:spChg chg="mod">
          <ac:chgData name="Mikami, Maho" userId="50612f1b-df2d-47bb-8fdd-7ddedc83fc7e" providerId="ADAL" clId="{5CBE12F2-F3C8-4DCE-AD77-5EBD7EED8DBF}" dt="2024-03-24T06:28:15.719" v="4287"/>
          <ac:spMkLst>
            <pc:docMk/>
            <pc:sldMk cId="445871252" sldId="2146847625"/>
            <ac:spMk id="150" creationId="{9E3FFADF-752F-1C7A-22D5-FE4CF23F431A}"/>
          </ac:spMkLst>
        </pc:spChg>
        <pc:spChg chg="mod">
          <ac:chgData name="Mikami, Maho" userId="50612f1b-df2d-47bb-8fdd-7ddedc83fc7e" providerId="ADAL" clId="{5CBE12F2-F3C8-4DCE-AD77-5EBD7EED8DBF}" dt="2024-03-24T06:28:15.719" v="4287"/>
          <ac:spMkLst>
            <pc:docMk/>
            <pc:sldMk cId="445871252" sldId="2146847625"/>
            <ac:spMk id="151" creationId="{2296B13D-BB81-4031-AA3B-C0D33F2AB252}"/>
          </ac:spMkLst>
        </pc:spChg>
        <pc:spChg chg="mod">
          <ac:chgData name="Mikami, Maho" userId="50612f1b-df2d-47bb-8fdd-7ddedc83fc7e" providerId="ADAL" clId="{5CBE12F2-F3C8-4DCE-AD77-5EBD7EED8DBF}" dt="2024-03-24T06:28:15.719" v="4287"/>
          <ac:spMkLst>
            <pc:docMk/>
            <pc:sldMk cId="445871252" sldId="2146847625"/>
            <ac:spMk id="152" creationId="{22585D18-CF00-B1B5-0C53-129D495F5D07}"/>
          </ac:spMkLst>
        </pc:spChg>
        <pc:spChg chg="mod">
          <ac:chgData name="Mikami, Maho" userId="50612f1b-df2d-47bb-8fdd-7ddedc83fc7e" providerId="ADAL" clId="{5CBE12F2-F3C8-4DCE-AD77-5EBD7EED8DBF}" dt="2024-03-24T06:28:15.719" v="4287"/>
          <ac:spMkLst>
            <pc:docMk/>
            <pc:sldMk cId="445871252" sldId="2146847625"/>
            <ac:spMk id="160" creationId="{877446D8-A3A1-B971-766A-ECAFA1940B2B}"/>
          </ac:spMkLst>
        </pc:spChg>
        <pc:spChg chg="mod">
          <ac:chgData name="Mikami, Maho" userId="50612f1b-df2d-47bb-8fdd-7ddedc83fc7e" providerId="ADAL" clId="{5CBE12F2-F3C8-4DCE-AD77-5EBD7EED8DBF}" dt="2024-03-24T06:28:15.719" v="4287"/>
          <ac:spMkLst>
            <pc:docMk/>
            <pc:sldMk cId="445871252" sldId="2146847625"/>
            <ac:spMk id="161" creationId="{99531003-1749-3BD8-4A2D-0ED243641956}"/>
          </ac:spMkLst>
        </pc:spChg>
        <pc:grpChg chg="add mod">
          <ac:chgData name="Mikami, Maho" userId="50612f1b-df2d-47bb-8fdd-7ddedc83fc7e" providerId="ADAL" clId="{5CBE12F2-F3C8-4DCE-AD77-5EBD7EED8DBF}" dt="2024-03-24T06:28:03.283" v="4282"/>
          <ac:grpSpMkLst>
            <pc:docMk/>
            <pc:sldMk cId="445871252" sldId="2146847625"/>
            <ac:grpSpMk id="17" creationId="{514A8D06-953B-6127-B51C-04C5856311FD}"/>
          </ac:grpSpMkLst>
        </pc:grpChg>
        <pc:grpChg chg="del">
          <ac:chgData name="Mikami, Maho" userId="50612f1b-df2d-47bb-8fdd-7ddedc83fc7e" providerId="ADAL" clId="{5CBE12F2-F3C8-4DCE-AD77-5EBD7EED8DBF}" dt="2024-03-24T04:49:49.634" v="2321" actId="478"/>
          <ac:grpSpMkLst>
            <pc:docMk/>
            <pc:sldMk cId="445871252" sldId="2146847625"/>
            <ac:grpSpMk id="19" creationId="{8DA8C2D0-267D-865E-435B-7CA58BE6C20B}"/>
          </ac:grpSpMkLst>
        </pc:grpChg>
        <pc:grpChg chg="add mod">
          <ac:chgData name="Mikami, Maho" userId="50612f1b-df2d-47bb-8fdd-7ddedc83fc7e" providerId="ADAL" clId="{5CBE12F2-F3C8-4DCE-AD77-5EBD7EED8DBF}" dt="2024-03-24T06:28:14.153" v="4286"/>
          <ac:grpSpMkLst>
            <pc:docMk/>
            <pc:sldMk cId="445871252" sldId="2146847625"/>
            <ac:grpSpMk id="68" creationId="{AA3AB581-4213-D533-689F-E85FC9D2D54C}"/>
          </ac:grpSpMkLst>
        </pc:grpChg>
        <pc:grpChg chg="add mod ord">
          <ac:chgData name="Mikami, Maho" userId="50612f1b-df2d-47bb-8fdd-7ddedc83fc7e" providerId="ADAL" clId="{5CBE12F2-F3C8-4DCE-AD77-5EBD7EED8DBF}" dt="2024-03-24T06:28:26.119" v="4324"/>
          <ac:grpSpMkLst>
            <pc:docMk/>
            <pc:sldMk cId="445871252" sldId="2146847625"/>
            <ac:grpSpMk id="115" creationId="{713357AC-86C4-77AB-2DE1-F81638685D3F}"/>
          </ac:grpSpMkLst>
        </pc:grpChg>
        <pc:graphicFrameChg chg="mod">
          <ac:chgData name="Mikami, Maho" userId="50612f1b-df2d-47bb-8fdd-7ddedc83fc7e" providerId="ADAL" clId="{5CBE12F2-F3C8-4DCE-AD77-5EBD7EED8DBF}" dt="2024-03-24T06:28:26.165" v="4347"/>
          <ac:graphicFrameMkLst>
            <pc:docMk/>
            <pc:sldMk cId="445871252" sldId="2146847625"/>
            <ac:graphicFrameMk id="8" creationId="{07C8CE62-B07B-3B84-847A-5186FF9FB11E}"/>
          </ac:graphicFrameMkLst>
        </pc:graphicFrameChg>
        <pc:picChg chg="add del mod">
          <ac:chgData name="Mikami, Maho" userId="50612f1b-df2d-47bb-8fdd-7ddedc83fc7e" providerId="ADAL" clId="{5CBE12F2-F3C8-4DCE-AD77-5EBD7EED8DBF}" dt="2024-03-24T04:49:24.372" v="2311" actId="478"/>
          <ac:picMkLst>
            <pc:docMk/>
            <pc:sldMk cId="445871252" sldId="2146847625"/>
            <ac:picMk id="11" creationId="{B820FE60-EFBB-7505-1732-EE29A261FB98}"/>
          </ac:picMkLst>
        </pc:picChg>
        <pc:picChg chg="add mod">
          <ac:chgData name="Mikami, Maho" userId="50612f1b-df2d-47bb-8fdd-7ddedc83fc7e" providerId="ADAL" clId="{5CBE12F2-F3C8-4DCE-AD77-5EBD7EED8DBF}" dt="2024-03-24T04:49:27.275" v="2313"/>
          <ac:picMkLst>
            <pc:docMk/>
            <pc:sldMk cId="445871252" sldId="2146847625"/>
            <ac:picMk id="12" creationId="{17EB4178-5F67-AA22-F714-F91BBDFA1060}"/>
          </ac:picMkLst>
        </pc:picChg>
        <pc:picChg chg="del mod">
          <ac:chgData name="Mikami, Maho" userId="50612f1b-df2d-47bb-8fdd-7ddedc83fc7e" providerId="ADAL" clId="{5CBE12F2-F3C8-4DCE-AD77-5EBD7EED8DBF}" dt="2024-03-24T06:28:02.965" v="4281" actId="478"/>
          <ac:picMkLst>
            <pc:docMk/>
            <pc:sldMk cId="445871252" sldId="2146847625"/>
            <ac:picMk id="13" creationId="{CD0AC230-9A39-5577-B60C-0A676D2EDE4D}"/>
          </ac:picMkLst>
        </pc:picChg>
        <pc:cxnChg chg="mod">
          <ac:chgData name="Mikami, Maho" userId="50612f1b-df2d-47bb-8fdd-7ddedc83fc7e" providerId="ADAL" clId="{5CBE12F2-F3C8-4DCE-AD77-5EBD7EED8DBF}" dt="2024-03-24T06:28:03.283" v="4282"/>
          <ac:cxnSpMkLst>
            <pc:docMk/>
            <pc:sldMk cId="445871252" sldId="2146847625"/>
            <ac:cxnSpMk id="31" creationId="{4FB4FF0F-D170-4CAE-5140-A5320125AAAB}"/>
          </ac:cxnSpMkLst>
        </pc:cxnChg>
        <pc:cxnChg chg="mod">
          <ac:chgData name="Mikami, Maho" userId="50612f1b-df2d-47bb-8fdd-7ddedc83fc7e" providerId="ADAL" clId="{5CBE12F2-F3C8-4DCE-AD77-5EBD7EED8DBF}" dt="2024-03-24T06:28:03.283" v="4282"/>
          <ac:cxnSpMkLst>
            <pc:docMk/>
            <pc:sldMk cId="445871252" sldId="2146847625"/>
            <ac:cxnSpMk id="32" creationId="{91CA73FE-44C3-2B94-8454-E22D4C9968DD}"/>
          </ac:cxnSpMkLst>
        </pc:cxnChg>
        <pc:cxnChg chg="mod">
          <ac:chgData name="Mikami, Maho" userId="50612f1b-df2d-47bb-8fdd-7ddedc83fc7e" providerId="ADAL" clId="{5CBE12F2-F3C8-4DCE-AD77-5EBD7EED8DBF}" dt="2024-03-24T06:28:03.283" v="4282"/>
          <ac:cxnSpMkLst>
            <pc:docMk/>
            <pc:sldMk cId="445871252" sldId="2146847625"/>
            <ac:cxnSpMk id="40" creationId="{DFFDFC30-1422-06B2-0C1B-B1D4CB7D27FC}"/>
          </ac:cxnSpMkLst>
        </pc:cxnChg>
        <pc:cxnChg chg="mod">
          <ac:chgData name="Mikami, Maho" userId="50612f1b-df2d-47bb-8fdd-7ddedc83fc7e" providerId="ADAL" clId="{5CBE12F2-F3C8-4DCE-AD77-5EBD7EED8DBF}" dt="2024-03-24T06:28:03.283" v="4282"/>
          <ac:cxnSpMkLst>
            <pc:docMk/>
            <pc:sldMk cId="445871252" sldId="2146847625"/>
            <ac:cxnSpMk id="43" creationId="{E0C292A1-1B6D-9EDD-3E11-78BFAA45F630}"/>
          </ac:cxnSpMkLst>
        </pc:cxnChg>
        <pc:cxnChg chg="mod">
          <ac:chgData name="Mikami, Maho" userId="50612f1b-df2d-47bb-8fdd-7ddedc83fc7e" providerId="ADAL" clId="{5CBE12F2-F3C8-4DCE-AD77-5EBD7EED8DBF}" dt="2024-03-24T06:28:03.283" v="4282"/>
          <ac:cxnSpMkLst>
            <pc:docMk/>
            <pc:sldMk cId="445871252" sldId="2146847625"/>
            <ac:cxnSpMk id="44" creationId="{F921B1FF-D71F-E44A-FB58-91CB10420CCF}"/>
          </ac:cxnSpMkLst>
        </pc:cxnChg>
        <pc:cxnChg chg="mod">
          <ac:chgData name="Mikami, Maho" userId="50612f1b-df2d-47bb-8fdd-7ddedc83fc7e" providerId="ADAL" clId="{5CBE12F2-F3C8-4DCE-AD77-5EBD7EED8DBF}" dt="2024-03-24T06:28:03.283" v="4282"/>
          <ac:cxnSpMkLst>
            <pc:docMk/>
            <pc:sldMk cId="445871252" sldId="2146847625"/>
            <ac:cxnSpMk id="45" creationId="{4BC6452C-9960-CC44-4048-A379D64FABE9}"/>
          </ac:cxnSpMkLst>
        </pc:cxnChg>
        <pc:cxnChg chg="mod">
          <ac:chgData name="Mikami, Maho" userId="50612f1b-df2d-47bb-8fdd-7ddedc83fc7e" providerId="ADAL" clId="{5CBE12F2-F3C8-4DCE-AD77-5EBD7EED8DBF}" dt="2024-03-24T06:28:03.283" v="4282"/>
          <ac:cxnSpMkLst>
            <pc:docMk/>
            <pc:sldMk cId="445871252" sldId="2146847625"/>
            <ac:cxnSpMk id="48" creationId="{FCC6821F-230F-E1A9-FBF5-ABB892FC4C42}"/>
          </ac:cxnSpMkLst>
        </pc:cxnChg>
        <pc:cxnChg chg="mod">
          <ac:chgData name="Mikami, Maho" userId="50612f1b-df2d-47bb-8fdd-7ddedc83fc7e" providerId="ADAL" clId="{5CBE12F2-F3C8-4DCE-AD77-5EBD7EED8DBF}" dt="2024-03-24T06:28:03.283" v="4282"/>
          <ac:cxnSpMkLst>
            <pc:docMk/>
            <pc:sldMk cId="445871252" sldId="2146847625"/>
            <ac:cxnSpMk id="49" creationId="{D8B29778-A151-AD47-6732-2C04464B0FCE}"/>
          </ac:cxnSpMkLst>
        </pc:cxnChg>
        <pc:cxnChg chg="mod">
          <ac:chgData name="Mikami, Maho" userId="50612f1b-df2d-47bb-8fdd-7ddedc83fc7e" providerId="ADAL" clId="{5CBE12F2-F3C8-4DCE-AD77-5EBD7EED8DBF}" dt="2024-03-24T06:28:03.283" v="4282"/>
          <ac:cxnSpMkLst>
            <pc:docMk/>
            <pc:sldMk cId="445871252" sldId="2146847625"/>
            <ac:cxnSpMk id="50" creationId="{6A3A4BD4-FC51-D0C1-8241-9C5C52294599}"/>
          </ac:cxnSpMkLst>
        </pc:cxnChg>
        <pc:cxnChg chg="mod">
          <ac:chgData name="Mikami, Maho" userId="50612f1b-df2d-47bb-8fdd-7ddedc83fc7e" providerId="ADAL" clId="{5CBE12F2-F3C8-4DCE-AD77-5EBD7EED8DBF}" dt="2024-03-24T06:28:03.283" v="4282"/>
          <ac:cxnSpMkLst>
            <pc:docMk/>
            <pc:sldMk cId="445871252" sldId="2146847625"/>
            <ac:cxnSpMk id="52" creationId="{EFFD1EDA-7334-CE44-A6EB-3E2895F538FD}"/>
          </ac:cxnSpMkLst>
        </pc:cxnChg>
        <pc:cxnChg chg="mod">
          <ac:chgData name="Mikami, Maho" userId="50612f1b-df2d-47bb-8fdd-7ddedc83fc7e" providerId="ADAL" clId="{5CBE12F2-F3C8-4DCE-AD77-5EBD7EED8DBF}" dt="2024-03-24T06:28:03.283" v="4282"/>
          <ac:cxnSpMkLst>
            <pc:docMk/>
            <pc:sldMk cId="445871252" sldId="2146847625"/>
            <ac:cxnSpMk id="53" creationId="{71DBF95C-D1B4-96FF-74FD-32E26A401CD1}"/>
          </ac:cxnSpMkLst>
        </pc:cxnChg>
        <pc:cxnChg chg="mod">
          <ac:chgData name="Mikami, Maho" userId="50612f1b-df2d-47bb-8fdd-7ddedc83fc7e" providerId="ADAL" clId="{5CBE12F2-F3C8-4DCE-AD77-5EBD7EED8DBF}" dt="2024-03-24T06:28:03.283" v="4282"/>
          <ac:cxnSpMkLst>
            <pc:docMk/>
            <pc:sldMk cId="445871252" sldId="2146847625"/>
            <ac:cxnSpMk id="54" creationId="{1D345E62-9938-9D80-1B71-0A3EC6095B01}"/>
          </ac:cxnSpMkLst>
        </pc:cxnChg>
        <pc:cxnChg chg="mod">
          <ac:chgData name="Mikami, Maho" userId="50612f1b-df2d-47bb-8fdd-7ddedc83fc7e" providerId="ADAL" clId="{5CBE12F2-F3C8-4DCE-AD77-5EBD7EED8DBF}" dt="2024-03-24T06:28:03.283" v="4282"/>
          <ac:cxnSpMkLst>
            <pc:docMk/>
            <pc:sldMk cId="445871252" sldId="2146847625"/>
            <ac:cxnSpMk id="55" creationId="{20DD0B5C-724E-CC16-F3CE-B1C052513DCD}"/>
          </ac:cxnSpMkLst>
        </pc:cxnChg>
        <pc:cxnChg chg="mod">
          <ac:chgData name="Mikami, Maho" userId="50612f1b-df2d-47bb-8fdd-7ddedc83fc7e" providerId="ADAL" clId="{5CBE12F2-F3C8-4DCE-AD77-5EBD7EED8DBF}" dt="2024-03-24T06:28:03.283" v="4282"/>
          <ac:cxnSpMkLst>
            <pc:docMk/>
            <pc:sldMk cId="445871252" sldId="2146847625"/>
            <ac:cxnSpMk id="59" creationId="{B02F92C3-3391-76A1-E1A9-0774A1AA57A9}"/>
          </ac:cxnSpMkLst>
        </pc:cxnChg>
        <pc:cxnChg chg="mod">
          <ac:chgData name="Mikami, Maho" userId="50612f1b-df2d-47bb-8fdd-7ddedc83fc7e" providerId="ADAL" clId="{5CBE12F2-F3C8-4DCE-AD77-5EBD7EED8DBF}" dt="2024-03-24T06:28:03.283" v="4282"/>
          <ac:cxnSpMkLst>
            <pc:docMk/>
            <pc:sldMk cId="445871252" sldId="2146847625"/>
            <ac:cxnSpMk id="60" creationId="{D40F6032-3681-1A0F-3FEA-6CBDFD64E2EB}"/>
          </ac:cxnSpMkLst>
        </pc:cxnChg>
        <pc:cxnChg chg="mod">
          <ac:chgData name="Mikami, Maho" userId="50612f1b-df2d-47bb-8fdd-7ddedc83fc7e" providerId="ADAL" clId="{5CBE12F2-F3C8-4DCE-AD77-5EBD7EED8DBF}" dt="2024-03-24T06:28:03.283" v="4282"/>
          <ac:cxnSpMkLst>
            <pc:docMk/>
            <pc:sldMk cId="445871252" sldId="2146847625"/>
            <ac:cxnSpMk id="61" creationId="{6F4D458C-4BFF-1F79-C9F7-2897AA63497D}"/>
          </ac:cxnSpMkLst>
        </pc:cxnChg>
        <pc:cxnChg chg="mod">
          <ac:chgData name="Mikami, Maho" userId="50612f1b-df2d-47bb-8fdd-7ddedc83fc7e" providerId="ADAL" clId="{5CBE12F2-F3C8-4DCE-AD77-5EBD7EED8DBF}" dt="2024-03-24T06:28:03.283" v="4282"/>
          <ac:cxnSpMkLst>
            <pc:docMk/>
            <pc:sldMk cId="445871252" sldId="2146847625"/>
            <ac:cxnSpMk id="62" creationId="{BD348B33-FBB6-7534-8AE0-033E56868331}"/>
          </ac:cxnSpMkLst>
        </pc:cxnChg>
        <pc:cxnChg chg="mod">
          <ac:chgData name="Mikami, Maho" userId="50612f1b-df2d-47bb-8fdd-7ddedc83fc7e" providerId="ADAL" clId="{5CBE12F2-F3C8-4DCE-AD77-5EBD7EED8DBF}" dt="2024-03-24T06:28:03.283" v="4282"/>
          <ac:cxnSpMkLst>
            <pc:docMk/>
            <pc:sldMk cId="445871252" sldId="2146847625"/>
            <ac:cxnSpMk id="63" creationId="{2F027574-8E71-56EB-36FE-81621F48C51D}"/>
          </ac:cxnSpMkLst>
        </pc:cxnChg>
        <pc:cxnChg chg="mod">
          <ac:chgData name="Mikami, Maho" userId="50612f1b-df2d-47bb-8fdd-7ddedc83fc7e" providerId="ADAL" clId="{5CBE12F2-F3C8-4DCE-AD77-5EBD7EED8DBF}" dt="2024-03-24T06:28:03.283" v="4282"/>
          <ac:cxnSpMkLst>
            <pc:docMk/>
            <pc:sldMk cId="445871252" sldId="2146847625"/>
            <ac:cxnSpMk id="64" creationId="{64A45FBD-7E09-42C1-CE29-3400548AD1AA}"/>
          </ac:cxnSpMkLst>
        </pc:cxnChg>
        <pc:cxnChg chg="mod">
          <ac:chgData name="Mikami, Maho" userId="50612f1b-df2d-47bb-8fdd-7ddedc83fc7e" providerId="ADAL" clId="{5CBE12F2-F3C8-4DCE-AD77-5EBD7EED8DBF}" dt="2024-03-24T06:28:03.283" v="4282"/>
          <ac:cxnSpMkLst>
            <pc:docMk/>
            <pc:sldMk cId="445871252" sldId="2146847625"/>
            <ac:cxnSpMk id="65" creationId="{B5F687C2-9CFC-C687-E274-7B13290AB7A6}"/>
          </ac:cxnSpMkLst>
        </pc:cxnChg>
        <pc:cxnChg chg="mod">
          <ac:chgData name="Mikami, Maho" userId="50612f1b-df2d-47bb-8fdd-7ddedc83fc7e" providerId="ADAL" clId="{5CBE12F2-F3C8-4DCE-AD77-5EBD7EED8DBF}" dt="2024-03-24T06:28:14.153" v="4286"/>
          <ac:cxnSpMkLst>
            <pc:docMk/>
            <pc:sldMk cId="445871252" sldId="2146847625"/>
            <ac:cxnSpMk id="78" creationId="{01A6ACA4-FA6A-AC44-B741-E35B25ED4669}"/>
          </ac:cxnSpMkLst>
        </pc:cxnChg>
        <pc:cxnChg chg="mod">
          <ac:chgData name="Mikami, Maho" userId="50612f1b-df2d-47bb-8fdd-7ddedc83fc7e" providerId="ADAL" clId="{5CBE12F2-F3C8-4DCE-AD77-5EBD7EED8DBF}" dt="2024-03-24T06:28:14.153" v="4286"/>
          <ac:cxnSpMkLst>
            <pc:docMk/>
            <pc:sldMk cId="445871252" sldId="2146847625"/>
            <ac:cxnSpMk id="79" creationId="{1A2E0E9C-5174-503F-3B7C-45258A033792}"/>
          </ac:cxnSpMkLst>
        </pc:cxnChg>
        <pc:cxnChg chg="mod">
          <ac:chgData name="Mikami, Maho" userId="50612f1b-df2d-47bb-8fdd-7ddedc83fc7e" providerId="ADAL" clId="{5CBE12F2-F3C8-4DCE-AD77-5EBD7EED8DBF}" dt="2024-03-24T06:28:14.153" v="4286"/>
          <ac:cxnSpMkLst>
            <pc:docMk/>
            <pc:sldMk cId="445871252" sldId="2146847625"/>
            <ac:cxnSpMk id="87" creationId="{65010A16-EE77-A33C-C7C6-D653B9E3616B}"/>
          </ac:cxnSpMkLst>
        </pc:cxnChg>
        <pc:cxnChg chg="mod">
          <ac:chgData name="Mikami, Maho" userId="50612f1b-df2d-47bb-8fdd-7ddedc83fc7e" providerId="ADAL" clId="{5CBE12F2-F3C8-4DCE-AD77-5EBD7EED8DBF}" dt="2024-03-24T06:28:14.153" v="4286"/>
          <ac:cxnSpMkLst>
            <pc:docMk/>
            <pc:sldMk cId="445871252" sldId="2146847625"/>
            <ac:cxnSpMk id="90" creationId="{18406879-F6B1-612C-442A-49394E342D11}"/>
          </ac:cxnSpMkLst>
        </pc:cxnChg>
        <pc:cxnChg chg="mod">
          <ac:chgData name="Mikami, Maho" userId="50612f1b-df2d-47bb-8fdd-7ddedc83fc7e" providerId="ADAL" clId="{5CBE12F2-F3C8-4DCE-AD77-5EBD7EED8DBF}" dt="2024-03-24T06:28:14.153" v="4286"/>
          <ac:cxnSpMkLst>
            <pc:docMk/>
            <pc:sldMk cId="445871252" sldId="2146847625"/>
            <ac:cxnSpMk id="91" creationId="{74EF9470-C417-947B-61B2-31ECBEED5D7B}"/>
          </ac:cxnSpMkLst>
        </pc:cxnChg>
        <pc:cxnChg chg="mod">
          <ac:chgData name="Mikami, Maho" userId="50612f1b-df2d-47bb-8fdd-7ddedc83fc7e" providerId="ADAL" clId="{5CBE12F2-F3C8-4DCE-AD77-5EBD7EED8DBF}" dt="2024-03-24T06:28:14.153" v="4286"/>
          <ac:cxnSpMkLst>
            <pc:docMk/>
            <pc:sldMk cId="445871252" sldId="2146847625"/>
            <ac:cxnSpMk id="92" creationId="{412DF78C-04BD-DDE7-00CB-187A494D59A3}"/>
          </ac:cxnSpMkLst>
        </pc:cxnChg>
        <pc:cxnChg chg="mod">
          <ac:chgData name="Mikami, Maho" userId="50612f1b-df2d-47bb-8fdd-7ddedc83fc7e" providerId="ADAL" clId="{5CBE12F2-F3C8-4DCE-AD77-5EBD7EED8DBF}" dt="2024-03-24T06:28:14.153" v="4286"/>
          <ac:cxnSpMkLst>
            <pc:docMk/>
            <pc:sldMk cId="445871252" sldId="2146847625"/>
            <ac:cxnSpMk id="95" creationId="{CF45036A-F92B-707C-6F19-F7309AFA3B29}"/>
          </ac:cxnSpMkLst>
        </pc:cxnChg>
        <pc:cxnChg chg="mod">
          <ac:chgData name="Mikami, Maho" userId="50612f1b-df2d-47bb-8fdd-7ddedc83fc7e" providerId="ADAL" clId="{5CBE12F2-F3C8-4DCE-AD77-5EBD7EED8DBF}" dt="2024-03-24T06:28:14.153" v="4286"/>
          <ac:cxnSpMkLst>
            <pc:docMk/>
            <pc:sldMk cId="445871252" sldId="2146847625"/>
            <ac:cxnSpMk id="96" creationId="{C2C2E675-470C-6F8A-95B6-EDD422226783}"/>
          </ac:cxnSpMkLst>
        </pc:cxnChg>
        <pc:cxnChg chg="mod">
          <ac:chgData name="Mikami, Maho" userId="50612f1b-df2d-47bb-8fdd-7ddedc83fc7e" providerId="ADAL" clId="{5CBE12F2-F3C8-4DCE-AD77-5EBD7EED8DBF}" dt="2024-03-24T06:28:14.153" v="4286"/>
          <ac:cxnSpMkLst>
            <pc:docMk/>
            <pc:sldMk cId="445871252" sldId="2146847625"/>
            <ac:cxnSpMk id="97" creationId="{C0E9BA72-2286-CC14-E22B-4E88D2F8F321}"/>
          </ac:cxnSpMkLst>
        </pc:cxnChg>
        <pc:cxnChg chg="mod">
          <ac:chgData name="Mikami, Maho" userId="50612f1b-df2d-47bb-8fdd-7ddedc83fc7e" providerId="ADAL" clId="{5CBE12F2-F3C8-4DCE-AD77-5EBD7EED8DBF}" dt="2024-03-24T06:28:14.153" v="4286"/>
          <ac:cxnSpMkLst>
            <pc:docMk/>
            <pc:sldMk cId="445871252" sldId="2146847625"/>
            <ac:cxnSpMk id="99" creationId="{EE2F83BD-5B1E-1D43-5812-15AF7DEBD7D4}"/>
          </ac:cxnSpMkLst>
        </pc:cxnChg>
        <pc:cxnChg chg="mod">
          <ac:chgData name="Mikami, Maho" userId="50612f1b-df2d-47bb-8fdd-7ddedc83fc7e" providerId="ADAL" clId="{5CBE12F2-F3C8-4DCE-AD77-5EBD7EED8DBF}" dt="2024-03-24T06:28:14.153" v="4286"/>
          <ac:cxnSpMkLst>
            <pc:docMk/>
            <pc:sldMk cId="445871252" sldId="2146847625"/>
            <ac:cxnSpMk id="100" creationId="{FBD7E85F-C988-4A0C-7423-D2BC1623EB0C}"/>
          </ac:cxnSpMkLst>
        </pc:cxnChg>
        <pc:cxnChg chg="mod">
          <ac:chgData name="Mikami, Maho" userId="50612f1b-df2d-47bb-8fdd-7ddedc83fc7e" providerId="ADAL" clId="{5CBE12F2-F3C8-4DCE-AD77-5EBD7EED8DBF}" dt="2024-03-24T06:28:14.153" v="4286"/>
          <ac:cxnSpMkLst>
            <pc:docMk/>
            <pc:sldMk cId="445871252" sldId="2146847625"/>
            <ac:cxnSpMk id="101" creationId="{22FB1322-88D8-9DFD-A879-A672632E36F3}"/>
          </ac:cxnSpMkLst>
        </pc:cxnChg>
        <pc:cxnChg chg="mod">
          <ac:chgData name="Mikami, Maho" userId="50612f1b-df2d-47bb-8fdd-7ddedc83fc7e" providerId="ADAL" clId="{5CBE12F2-F3C8-4DCE-AD77-5EBD7EED8DBF}" dt="2024-03-24T06:28:14.153" v="4286"/>
          <ac:cxnSpMkLst>
            <pc:docMk/>
            <pc:sldMk cId="445871252" sldId="2146847625"/>
            <ac:cxnSpMk id="102" creationId="{458AFEBC-C695-DAA0-57F7-60461A143561}"/>
          </ac:cxnSpMkLst>
        </pc:cxnChg>
        <pc:cxnChg chg="mod">
          <ac:chgData name="Mikami, Maho" userId="50612f1b-df2d-47bb-8fdd-7ddedc83fc7e" providerId="ADAL" clId="{5CBE12F2-F3C8-4DCE-AD77-5EBD7EED8DBF}" dt="2024-03-24T06:28:14.153" v="4286"/>
          <ac:cxnSpMkLst>
            <pc:docMk/>
            <pc:sldMk cId="445871252" sldId="2146847625"/>
            <ac:cxnSpMk id="106" creationId="{E696C985-437C-75CD-217A-7DCDA911E0D5}"/>
          </ac:cxnSpMkLst>
        </pc:cxnChg>
        <pc:cxnChg chg="mod">
          <ac:chgData name="Mikami, Maho" userId="50612f1b-df2d-47bb-8fdd-7ddedc83fc7e" providerId="ADAL" clId="{5CBE12F2-F3C8-4DCE-AD77-5EBD7EED8DBF}" dt="2024-03-24T06:28:14.153" v="4286"/>
          <ac:cxnSpMkLst>
            <pc:docMk/>
            <pc:sldMk cId="445871252" sldId="2146847625"/>
            <ac:cxnSpMk id="107" creationId="{96AAA7C5-297D-0C72-B2E1-357AD3AC074E}"/>
          </ac:cxnSpMkLst>
        </pc:cxnChg>
        <pc:cxnChg chg="mod">
          <ac:chgData name="Mikami, Maho" userId="50612f1b-df2d-47bb-8fdd-7ddedc83fc7e" providerId="ADAL" clId="{5CBE12F2-F3C8-4DCE-AD77-5EBD7EED8DBF}" dt="2024-03-24T06:28:14.153" v="4286"/>
          <ac:cxnSpMkLst>
            <pc:docMk/>
            <pc:sldMk cId="445871252" sldId="2146847625"/>
            <ac:cxnSpMk id="108" creationId="{7A589CD3-DFAA-5BE2-5CA6-86C03C9FC0C7}"/>
          </ac:cxnSpMkLst>
        </pc:cxnChg>
        <pc:cxnChg chg="mod">
          <ac:chgData name="Mikami, Maho" userId="50612f1b-df2d-47bb-8fdd-7ddedc83fc7e" providerId="ADAL" clId="{5CBE12F2-F3C8-4DCE-AD77-5EBD7EED8DBF}" dt="2024-03-24T06:28:14.153" v="4286"/>
          <ac:cxnSpMkLst>
            <pc:docMk/>
            <pc:sldMk cId="445871252" sldId="2146847625"/>
            <ac:cxnSpMk id="109" creationId="{53A845D8-D521-C027-05C8-3FB7FEBF7AB1}"/>
          </ac:cxnSpMkLst>
        </pc:cxnChg>
        <pc:cxnChg chg="mod">
          <ac:chgData name="Mikami, Maho" userId="50612f1b-df2d-47bb-8fdd-7ddedc83fc7e" providerId="ADAL" clId="{5CBE12F2-F3C8-4DCE-AD77-5EBD7EED8DBF}" dt="2024-03-24T06:28:14.153" v="4286"/>
          <ac:cxnSpMkLst>
            <pc:docMk/>
            <pc:sldMk cId="445871252" sldId="2146847625"/>
            <ac:cxnSpMk id="110" creationId="{EF6A1FC0-1C0E-FD79-297A-EFFE25EA2544}"/>
          </ac:cxnSpMkLst>
        </pc:cxnChg>
        <pc:cxnChg chg="mod">
          <ac:chgData name="Mikami, Maho" userId="50612f1b-df2d-47bb-8fdd-7ddedc83fc7e" providerId="ADAL" clId="{5CBE12F2-F3C8-4DCE-AD77-5EBD7EED8DBF}" dt="2024-03-24T06:28:14.153" v="4286"/>
          <ac:cxnSpMkLst>
            <pc:docMk/>
            <pc:sldMk cId="445871252" sldId="2146847625"/>
            <ac:cxnSpMk id="111" creationId="{90F787D6-6144-20FC-CD49-5A2CD3D592EE}"/>
          </ac:cxnSpMkLst>
        </pc:cxnChg>
        <pc:cxnChg chg="mod">
          <ac:chgData name="Mikami, Maho" userId="50612f1b-df2d-47bb-8fdd-7ddedc83fc7e" providerId="ADAL" clId="{5CBE12F2-F3C8-4DCE-AD77-5EBD7EED8DBF}" dt="2024-03-24T06:28:14.153" v="4286"/>
          <ac:cxnSpMkLst>
            <pc:docMk/>
            <pc:sldMk cId="445871252" sldId="2146847625"/>
            <ac:cxnSpMk id="112" creationId="{CD5F883E-7DB6-D602-9865-1D7A38287AFB}"/>
          </ac:cxnSpMkLst>
        </pc:cxnChg>
        <pc:cxnChg chg="mod">
          <ac:chgData name="Mikami, Maho" userId="50612f1b-df2d-47bb-8fdd-7ddedc83fc7e" providerId="ADAL" clId="{5CBE12F2-F3C8-4DCE-AD77-5EBD7EED8DBF}" dt="2024-03-24T06:28:15.719" v="4287"/>
          <ac:cxnSpMkLst>
            <pc:docMk/>
            <pc:sldMk cId="445871252" sldId="2146847625"/>
            <ac:cxnSpMk id="125" creationId="{549DD3F9-A2F2-80E0-2445-81CCDF29112A}"/>
          </ac:cxnSpMkLst>
        </pc:cxnChg>
        <pc:cxnChg chg="mod">
          <ac:chgData name="Mikami, Maho" userId="50612f1b-df2d-47bb-8fdd-7ddedc83fc7e" providerId="ADAL" clId="{5CBE12F2-F3C8-4DCE-AD77-5EBD7EED8DBF}" dt="2024-03-24T06:28:15.719" v="4287"/>
          <ac:cxnSpMkLst>
            <pc:docMk/>
            <pc:sldMk cId="445871252" sldId="2146847625"/>
            <ac:cxnSpMk id="126" creationId="{9ECA5830-3758-E27D-BD60-248E3FD61E71}"/>
          </ac:cxnSpMkLst>
        </pc:cxnChg>
        <pc:cxnChg chg="mod">
          <ac:chgData name="Mikami, Maho" userId="50612f1b-df2d-47bb-8fdd-7ddedc83fc7e" providerId="ADAL" clId="{5CBE12F2-F3C8-4DCE-AD77-5EBD7EED8DBF}" dt="2024-03-24T06:28:15.719" v="4287"/>
          <ac:cxnSpMkLst>
            <pc:docMk/>
            <pc:sldMk cId="445871252" sldId="2146847625"/>
            <ac:cxnSpMk id="134" creationId="{7577F699-468F-C942-B934-0DEA8D6D5970}"/>
          </ac:cxnSpMkLst>
        </pc:cxnChg>
        <pc:cxnChg chg="mod">
          <ac:chgData name="Mikami, Maho" userId="50612f1b-df2d-47bb-8fdd-7ddedc83fc7e" providerId="ADAL" clId="{5CBE12F2-F3C8-4DCE-AD77-5EBD7EED8DBF}" dt="2024-03-24T06:28:15.719" v="4287"/>
          <ac:cxnSpMkLst>
            <pc:docMk/>
            <pc:sldMk cId="445871252" sldId="2146847625"/>
            <ac:cxnSpMk id="137" creationId="{E985DD72-36D8-5484-A477-4E5905B9F24B}"/>
          </ac:cxnSpMkLst>
        </pc:cxnChg>
        <pc:cxnChg chg="mod">
          <ac:chgData name="Mikami, Maho" userId="50612f1b-df2d-47bb-8fdd-7ddedc83fc7e" providerId="ADAL" clId="{5CBE12F2-F3C8-4DCE-AD77-5EBD7EED8DBF}" dt="2024-03-24T06:28:15.719" v="4287"/>
          <ac:cxnSpMkLst>
            <pc:docMk/>
            <pc:sldMk cId="445871252" sldId="2146847625"/>
            <ac:cxnSpMk id="138" creationId="{9B6700A6-114C-FCC5-1BEA-7C844E8D7A4F}"/>
          </ac:cxnSpMkLst>
        </pc:cxnChg>
        <pc:cxnChg chg="mod">
          <ac:chgData name="Mikami, Maho" userId="50612f1b-df2d-47bb-8fdd-7ddedc83fc7e" providerId="ADAL" clId="{5CBE12F2-F3C8-4DCE-AD77-5EBD7EED8DBF}" dt="2024-03-24T06:28:15.719" v="4287"/>
          <ac:cxnSpMkLst>
            <pc:docMk/>
            <pc:sldMk cId="445871252" sldId="2146847625"/>
            <ac:cxnSpMk id="139" creationId="{B6A96ACE-2A3C-0DE4-D4E8-F82F6512C2DD}"/>
          </ac:cxnSpMkLst>
        </pc:cxnChg>
        <pc:cxnChg chg="mod">
          <ac:chgData name="Mikami, Maho" userId="50612f1b-df2d-47bb-8fdd-7ddedc83fc7e" providerId="ADAL" clId="{5CBE12F2-F3C8-4DCE-AD77-5EBD7EED8DBF}" dt="2024-03-24T06:28:15.719" v="4287"/>
          <ac:cxnSpMkLst>
            <pc:docMk/>
            <pc:sldMk cId="445871252" sldId="2146847625"/>
            <ac:cxnSpMk id="142" creationId="{996E4118-0780-A57F-3E89-C5DDDE3BFAB5}"/>
          </ac:cxnSpMkLst>
        </pc:cxnChg>
        <pc:cxnChg chg="mod">
          <ac:chgData name="Mikami, Maho" userId="50612f1b-df2d-47bb-8fdd-7ddedc83fc7e" providerId="ADAL" clId="{5CBE12F2-F3C8-4DCE-AD77-5EBD7EED8DBF}" dt="2024-03-24T06:28:15.719" v="4287"/>
          <ac:cxnSpMkLst>
            <pc:docMk/>
            <pc:sldMk cId="445871252" sldId="2146847625"/>
            <ac:cxnSpMk id="143" creationId="{0B9CED95-2D78-6BDA-25DD-8EC571DC6A31}"/>
          </ac:cxnSpMkLst>
        </pc:cxnChg>
        <pc:cxnChg chg="mod">
          <ac:chgData name="Mikami, Maho" userId="50612f1b-df2d-47bb-8fdd-7ddedc83fc7e" providerId="ADAL" clId="{5CBE12F2-F3C8-4DCE-AD77-5EBD7EED8DBF}" dt="2024-03-24T06:28:15.719" v="4287"/>
          <ac:cxnSpMkLst>
            <pc:docMk/>
            <pc:sldMk cId="445871252" sldId="2146847625"/>
            <ac:cxnSpMk id="144" creationId="{88A458C9-2788-B63F-0184-4062DFAE7C58}"/>
          </ac:cxnSpMkLst>
        </pc:cxnChg>
        <pc:cxnChg chg="mod">
          <ac:chgData name="Mikami, Maho" userId="50612f1b-df2d-47bb-8fdd-7ddedc83fc7e" providerId="ADAL" clId="{5CBE12F2-F3C8-4DCE-AD77-5EBD7EED8DBF}" dt="2024-03-24T06:28:15.719" v="4287"/>
          <ac:cxnSpMkLst>
            <pc:docMk/>
            <pc:sldMk cId="445871252" sldId="2146847625"/>
            <ac:cxnSpMk id="146" creationId="{1474AE76-B188-ABB1-9CAA-0A4AB018A6DD}"/>
          </ac:cxnSpMkLst>
        </pc:cxnChg>
        <pc:cxnChg chg="mod">
          <ac:chgData name="Mikami, Maho" userId="50612f1b-df2d-47bb-8fdd-7ddedc83fc7e" providerId="ADAL" clId="{5CBE12F2-F3C8-4DCE-AD77-5EBD7EED8DBF}" dt="2024-03-24T06:28:15.719" v="4287"/>
          <ac:cxnSpMkLst>
            <pc:docMk/>
            <pc:sldMk cId="445871252" sldId="2146847625"/>
            <ac:cxnSpMk id="147" creationId="{473E2FAE-793B-0BA5-081F-6C3AC768AA2A}"/>
          </ac:cxnSpMkLst>
        </pc:cxnChg>
        <pc:cxnChg chg="mod">
          <ac:chgData name="Mikami, Maho" userId="50612f1b-df2d-47bb-8fdd-7ddedc83fc7e" providerId="ADAL" clId="{5CBE12F2-F3C8-4DCE-AD77-5EBD7EED8DBF}" dt="2024-03-24T06:28:15.719" v="4287"/>
          <ac:cxnSpMkLst>
            <pc:docMk/>
            <pc:sldMk cId="445871252" sldId="2146847625"/>
            <ac:cxnSpMk id="148" creationId="{90A80CBA-C484-0009-3611-C4AD26E7217B}"/>
          </ac:cxnSpMkLst>
        </pc:cxnChg>
        <pc:cxnChg chg="mod">
          <ac:chgData name="Mikami, Maho" userId="50612f1b-df2d-47bb-8fdd-7ddedc83fc7e" providerId="ADAL" clId="{5CBE12F2-F3C8-4DCE-AD77-5EBD7EED8DBF}" dt="2024-03-24T06:28:15.719" v="4287"/>
          <ac:cxnSpMkLst>
            <pc:docMk/>
            <pc:sldMk cId="445871252" sldId="2146847625"/>
            <ac:cxnSpMk id="149" creationId="{55326812-B1A9-0E82-27DF-40C933080EEF}"/>
          </ac:cxnSpMkLst>
        </pc:cxnChg>
        <pc:cxnChg chg="mod">
          <ac:chgData name="Mikami, Maho" userId="50612f1b-df2d-47bb-8fdd-7ddedc83fc7e" providerId="ADAL" clId="{5CBE12F2-F3C8-4DCE-AD77-5EBD7EED8DBF}" dt="2024-03-24T06:28:15.719" v="4287"/>
          <ac:cxnSpMkLst>
            <pc:docMk/>
            <pc:sldMk cId="445871252" sldId="2146847625"/>
            <ac:cxnSpMk id="153" creationId="{75BC0C6C-CAF0-82CD-A98C-9812A8E67BE3}"/>
          </ac:cxnSpMkLst>
        </pc:cxnChg>
        <pc:cxnChg chg="mod">
          <ac:chgData name="Mikami, Maho" userId="50612f1b-df2d-47bb-8fdd-7ddedc83fc7e" providerId="ADAL" clId="{5CBE12F2-F3C8-4DCE-AD77-5EBD7EED8DBF}" dt="2024-03-24T06:28:15.719" v="4287"/>
          <ac:cxnSpMkLst>
            <pc:docMk/>
            <pc:sldMk cId="445871252" sldId="2146847625"/>
            <ac:cxnSpMk id="154" creationId="{44071D73-F45C-506F-2BC6-E8E097051F66}"/>
          </ac:cxnSpMkLst>
        </pc:cxnChg>
        <pc:cxnChg chg="mod">
          <ac:chgData name="Mikami, Maho" userId="50612f1b-df2d-47bb-8fdd-7ddedc83fc7e" providerId="ADAL" clId="{5CBE12F2-F3C8-4DCE-AD77-5EBD7EED8DBF}" dt="2024-03-24T06:28:15.719" v="4287"/>
          <ac:cxnSpMkLst>
            <pc:docMk/>
            <pc:sldMk cId="445871252" sldId="2146847625"/>
            <ac:cxnSpMk id="155" creationId="{BAABD985-5FDC-D72F-969F-0D55CEDC0525}"/>
          </ac:cxnSpMkLst>
        </pc:cxnChg>
        <pc:cxnChg chg="mod">
          <ac:chgData name="Mikami, Maho" userId="50612f1b-df2d-47bb-8fdd-7ddedc83fc7e" providerId="ADAL" clId="{5CBE12F2-F3C8-4DCE-AD77-5EBD7EED8DBF}" dt="2024-03-24T06:28:15.719" v="4287"/>
          <ac:cxnSpMkLst>
            <pc:docMk/>
            <pc:sldMk cId="445871252" sldId="2146847625"/>
            <ac:cxnSpMk id="156" creationId="{D892A08A-228B-DF01-0696-09F66BAFC4CD}"/>
          </ac:cxnSpMkLst>
        </pc:cxnChg>
        <pc:cxnChg chg="mod">
          <ac:chgData name="Mikami, Maho" userId="50612f1b-df2d-47bb-8fdd-7ddedc83fc7e" providerId="ADAL" clId="{5CBE12F2-F3C8-4DCE-AD77-5EBD7EED8DBF}" dt="2024-03-24T06:28:15.719" v="4287"/>
          <ac:cxnSpMkLst>
            <pc:docMk/>
            <pc:sldMk cId="445871252" sldId="2146847625"/>
            <ac:cxnSpMk id="157" creationId="{495DE3A0-1007-C5B0-CA2F-3E903885C29E}"/>
          </ac:cxnSpMkLst>
        </pc:cxnChg>
        <pc:cxnChg chg="mod">
          <ac:chgData name="Mikami, Maho" userId="50612f1b-df2d-47bb-8fdd-7ddedc83fc7e" providerId="ADAL" clId="{5CBE12F2-F3C8-4DCE-AD77-5EBD7EED8DBF}" dt="2024-03-24T06:28:15.719" v="4287"/>
          <ac:cxnSpMkLst>
            <pc:docMk/>
            <pc:sldMk cId="445871252" sldId="2146847625"/>
            <ac:cxnSpMk id="158" creationId="{95B00BF2-3D98-D026-7870-94CE70E2CC58}"/>
          </ac:cxnSpMkLst>
        </pc:cxnChg>
        <pc:cxnChg chg="mod">
          <ac:chgData name="Mikami, Maho" userId="50612f1b-df2d-47bb-8fdd-7ddedc83fc7e" providerId="ADAL" clId="{5CBE12F2-F3C8-4DCE-AD77-5EBD7EED8DBF}" dt="2024-03-24T06:28:15.719" v="4287"/>
          <ac:cxnSpMkLst>
            <pc:docMk/>
            <pc:sldMk cId="445871252" sldId="2146847625"/>
            <ac:cxnSpMk id="159" creationId="{D409F483-3FAB-E6B9-6782-1CDEBB9756B5}"/>
          </ac:cxnSpMkLst>
        </pc:cxnChg>
      </pc:sldChg>
      <pc:sldChg chg="add del">
        <pc:chgData name="Mikami, Maho" userId="50612f1b-df2d-47bb-8fdd-7ddedc83fc7e" providerId="ADAL" clId="{5CBE12F2-F3C8-4DCE-AD77-5EBD7EED8DBF}" dt="2024-03-24T06:28:39.548" v="4353" actId="47"/>
        <pc:sldMkLst>
          <pc:docMk/>
          <pc:sldMk cId="873623441" sldId="2147377906"/>
        </pc:sldMkLst>
      </pc:sldChg>
      <pc:sldChg chg="del">
        <pc:chgData name="Mikami, Maho" userId="50612f1b-df2d-47bb-8fdd-7ddedc83fc7e" providerId="ADAL" clId="{5CBE12F2-F3C8-4DCE-AD77-5EBD7EED8DBF}" dt="2024-03-24T06:23:05.322" v="4132" actId="47"/>
        <pc:sldMkLst>
          <pc:docMk/>
          <pc:sldMk cId="3958614740" sldId="2147378631"/>
        </pc:sldMkLst>
      </pc:sldChg>
      <pc:sldChg chg="delSp modSp mod">
        <pc:chgData name="Mikami, Maho" userId="50612f1b-df2d-47bb-8fdd-7ddedc83fc7e" providerId="ADAL" clId="{5CBE12F2-F3C8-4DCE-AD77-5EBD7EED8DBF}" dt="2024-03-24T07:05:50.502" v="4917" actId="478"/>
        <pc:sldMkLst>
          <pc:docMk/>
          <pc:sldMk cId="2852443830" sldId="2147378632"/>
        </pc:sldMkLst>
        <pc:spChg chg="del mod">
          <ac:chgData name="Mikami, Maho" userId="50612f1b-df2d-47bb-8fdd-7ddedc83fc7e" providerId="ADAL" clId="{5CBE12F2-F3C8-4DCE-AD77-5EBD7EED8DBF}" dt="2024-03-24T07:05:50.502" v="4917" actId="478"/>
          <ac:spMkLst>
            <pc:docMk/>
            <pc:sldMk cId="2852443830" sldId="2147378632"/>
            <ac:spMk id="3" creationId="{4B3CE172-D199-01B5-37C0-A7F49A5FC9A9}"/>
          </ac:spMkLst>
        </pc:spChg>
        <pc:spChg chg="mod">
          <ac:chgData name="Mikami, Maho" userId="50612f1b-df2d-47bb-8fdd-7ddedc83fc7e" providerId="ADAL" clId="{5CBE12F2-F3C8-4DCE-AD77-5EBD7EED8DBF}" dt="2024-03-24T07:05:49.213" v="4916" actId="1076"/>
          <ac:spMkLst>
            <pc:docMk/>
            <pc:sldMk cId="2852443830" sldId="2147378632"/>
            <ac:spMk id="11" creationId="{2185EA67-61D9-4064-809F-BA3B5CE98408}"/>
          </ac:spMkLst>
        </pc:spChg>
        <pc:graphicFrameChg chg="mod modGraphic">
          <ac:chgData name="Mikami, Maho" userId="50612f1b-df2d-47bb-8fdd-7ddedc83fc7e" providerId="ADAL" clId="{5CBE12F2-F3C8-4DCE-AD77-5EBD7EED8DBF}" dt="2024-03-24T05:02:35.604" v="3059" actId="115"/>
          <ac:graphicFrameMkLst>
            <pc:docMk/>
            <pc:sldMk cId="2852443830" sldId="2147378632"/>
            <ac:graphicFrameMk id="6" creationId="{B55303B4-CE87-4811-3F7F-A140D7D12FA2}"/>
          </ac:graphicFrameMkLst>
        </pc:graphicFrameChg>
      </pc:sldChg>
      <pc:sldChg chg="modSp del mod">
        <pc:chgData name="Mikami, Maho" userId="50612f1b-df2d-47bb-8fdd-7ddedc83fc7e" providerId="ADAL" clId="{5CBE12F2-F3C8-4DCE-AD77-5EBD7EED8DBF}" dt="2024-03-24T06:23:10.246" v="4134" actId="47"/>
        <pc:sldMkLst>
          <pc:docMk/>
          <pc:sldMk cId="813696313" sldId="2147378633"/>
        </pc:sldMkLst>
        <pc:spChg chg="mod">
          <ac:chgData name="Mikami, Maho" userId="50612f1b-df2d-47bb-8fdd-7ddedc83fc7e" providerId="ADAL" clId="{5CBE12F2-F3C8-4DCE-AD77-5EBD7EED8DBF}" dt="2024-03-24T05:00:15.552" v="2881" actId="20577"/>
          <ac:spMkLst>
            <pc:docMk/>
            <pc:sldMk cId="813696313" sldId="2147378633"/>
            <ac:spMk id="10" creationId="{80E6EF29-A9F8-46B2-8DDE-5092A65E485F}"/>
          </ac:spMkLst>
        </pc:spChg>
      </pc:sldChg>
      <pc:sldChg chg="del">
        <pc:chgData name="Mikami, Maho" userId="50612f1b-df2d-47bb-8fdd-7ddedc83fc7e" providerId="ADAL" clId="{5CBE12F2-F3C8-4DCE-AD77-5EBD7EED8DBF}" dt="2024-03-24T06:23:42.375" v="4221" actId="47"/>
        <pc:sldMkLst>
          <pc:docMk/>
          <pc:sldMk cId="2542649328" sldId="2147378635"/>
        </pc:sldMkLst>
      </pc:sldChg>
      <pc:sldChg chg="del">
        <pc:chgData name="Mikami, Maho" userId="50612f1b-df2d-47bb-8fdd-7ddedc83fc7e" providerId="ADAL" clId="{5CBE12F2-F3C8-4DCE-AD77-5EBD7EED8DBF}" dt="2024-03-24T06:23:55.476" v="4225" actId="47"/>
        <pc:sldMkLst>
          <pc:docMk/>
          <pc:sldMk cId="280400123" sldId="2147378639"/>
        </pc:sldMkLst>
      </pc:sldChg>
      <pc:sldChg chg="modSp mod">
        <pc:chgData name="Mikami, Maho" userId="50612f1b-df2d-47bb-8fdd-7ddedc83fc7e" providerId="ADAL" clId="{5CBE12F2-F3C8-4DCE-AD77-5EBD7EED8DBF}" dt="2024-03-24T06:20:11.531" v="3879" actId="20577"/>
        <pc:sldMkLst>
          <pc:docMk/>
          <pc:sldMk cId="1869527861" sldId="2147378640"/>
        </pc:sldMkLst>
        <pc:spChg chg="mod">
          <ac:chgData name="Mikami, Maho" userId="50612f1b-df2d-47bb-8fdd-7ddedc83fc7e" providerId="ADAL" clId="{5CBE12F2-F3C8-4DCE-AD77-5EBD7EED8DBF}" dt="2024-03-24T06:20:11.531" v="3879" actId="20577"/>
          <ac:spMkLst>
            <pc:docMk/>
            <pc:sldMk cId="1869527861" sldId="2147378640"/>
            <ac:spMk id="10" creationId="{80E6EF29-A9F8-46B2-8DDE-5092A65E485F}"/>
          </ac:spMkLst>
        </pc:spChg>
      </pc:sldChg>
      <pc:sldChg chg="addSp modSp mod">
        <pc:chgData name="Mikami, Maho" userId="50612f1b-df2d-47bb-8fdd-7ddedc83fc7e" providerId="ADAL" clId="{5CBE12F2-F3C8-4DCE-AD77-5EBD7EED8DBF}" dt="2024-03-24T07:18:30.170" v="5990"/>
        <pc:sldMkLst>
          <pc:docMk/>
          <pc:sldMk cId="2971655775" sldId="2147378641"/>
        </pc:sldMkLst>
        <pc:spChg chg="add mod">
          <ac:chgData name="Mikami, Maho" userId="50612f1b-df2d-47bb-8fdd-7ddedc83fc7e" providerId="ADAL" clId="{5CBE12F2-F3C8-4DCE-AD77-5EBD7EED8DBF}" dt="2024-03-24T07:18:30.170" v="5990"/>
          <ac:spMkLst>
            <pc:docMk/>
            <pc:sldMk cId="2971655775" sldId="2147378641"/>
            <ac:spMk id="3" creationId="{94B4F4C3-E924-5C09-6C05-B7ACDED17F33}"/>
          </ac:spMkLst>
        </pc:spChg>
        <pc:spChg chg="mod">
          <ac:chgData name="Mikami, Maho" userId="50612f1b-df2d-47bb-8fdd-7ddedc83fc7e" providerId="ADAL" clId="{5CBE12F2-F3C8-4DCE-AD77-5EBD7EED8DBF}" dt="2024-03-24T04:55:12.415" v="2701" actId="948"/>
          <ac:spMkLst>
            <pc:docMk/>
            <pc:sldMk cId="2971655775" sldId="2147378641"/>
            <ac:spMk id="9" creationId="{D22A0A06-D5A8-4A1A-B66F-2A8EDBD644F1}"/>
          </ac:spMkLst>
        </pc:spChg>
        <pc:graphicFrameChg chg="mod">
          <ac:chgData name="Mikami, Maho" userId="50612f1b-df2d-47bb-8fdd-7ddedc83fc7e" providerId="ADAL" clId="{5CBE12F2-F3C8-4DCE-AD77-5EBD7EED8DBF}" dt="2024-03-24T04:55:12.430" v="2705"/>
          <ac:graphicFrameMkLst>
            <pc:docMk/>
            <pc:sldMk cId="2971655775" sldId="2147378641"/>
            <ac:graphicFrameMk id="5" creationId="{E78F9D36-5310-41D4-8608-5BFFDB0F22CA}"/>
          </ac:graphicFrameMkLst>
        </pc:graphicFrameChg>
      </pc:sldChg>
      <pc:sldChg chg="del">
        <pc:chgData name="Mikami, Maho" userId="50612f1b-df2d-47bb-8fdd-7ddedc83fc7e" providerId="ADAL" clId="{5CBE12F2-F3C8-4DCE-AD77-5EBD7EED8DBF}" dt="2024-03-24T06:34:30.331" v="4691" actId="47"/>
        <pc:sldMkLst>
          <pc:docMk/>
          <pc:sldMk cId="1188370737" sldId="2147378642"/>
        </pc:sldMkLst>
      </pc:sldChg>
      <pc:sldChg chg="addSp delSp modSp mod">
        <pc:chgData name="Mikami, Maho" userId="50612f1b-df2d-47bb-8fdd-7ddedc83fc7e" providerId="ADAL" clId="{5CBE12F2-F3C8-4DCE-AD77-5EBD7EED8DBF}" dt="2024-03-24T07:31:31.580" v="6780" actId="1035"/>
        <pc:sldMkLst>
          <pc:docMk/>
          <pc:sldMk cId="1805811011" sldId="2147378643"/>
        </pc:sldMkLst>
        <pc:spChg chg="del mod">
          <ac:chgData name="Mikami, Maho" userId="50612f1b-df2d-47bb-8fdd-7ddedc83fc7e" providerId="ADAL" clId="{5CBE12F2-F3C8-4DCE-AD77-5EBD7EED8DBF}" dt="2024-03-24T06:33:03.359" v="4558" actId="478"/>
          <ac:spMkLst>
            <pc:docMk/>
            <pc:sldMk cId="1805811011" sldId="2147378643"/>
            <ac:spMk id="3" creationId="{2B47DAB3-CE80-8ABF-3197-237049204C09}"/>
          </ac:spMkLst>
        </pc:spChg>
        <pc:spChg chg="add mod">
          <ac:chgData name="Mikami, Maho" userId="50612f1b-df2d-47bb-8fdd-7ddedc83fc7e" providerId="ADAL" clId="{5CBE12F2-F3C8-4DCE-AD77-5EBD7EED8DBF}" dt="2024-03-24T06:33:39.620" v="4625" actId="20577"/>
          <ac:spMkLst>
            <pc:docMk/>
            <pc:sldMk cId="1805811011" sldId="2147378643"/>
            <ac:spMk id="4" creationId="{78A6158B-C9C8-BC24-B780-F2E8C3167CB7}"/>
          </ac:spMkLst>
        </pc:spChg>
        <pc:spChg chg="add mod">
          <ac:chgData name="Mikami, Maho" userId="50612f1b-df2d-47bb-8fdd-7ddedc83fc7e" providerId="ADAL" clId="{5CBE12F2-F3C8-4DCE-AD77-5EBD7EED8DBF}" dt="2024-03-24T07:31:31.580" v="6780" actId="1035"/>
          <ac:spMkLst>
            <pc:docMk/>
            <pc:sldMk cId="1805811011" sldId="2147378643"/>
            <ac:spMk id="7" creationId="{64324C95-6697-EA74-E1BA-7DBD14662868}"/>
          </ac:spMkLst>
        </pc:spChg>
        <pc:spChg chg="add mod">
          <ac:chgData name="Mikami, Maho" userId="50612f1b-df2d-47bb-8fdd-7ddedc83fc7e" providerId="ADAL" clId="{5CBE12F2-F3C8-4DCE-AD77-5EBD7EED8DBF}" dt="2024-03-24T07:31:27.951" v="6771"/>
          <ac:spMkLst>
            <pc:docMk/>
            <pc:sldMk cId="1805811011" sldId="2147378643"/>
            <ac:spMk id="8" creationId="{CB55F509-E4B5-D1B3-0847-4D548304DBD8}"/>
          </ac:spMkLst>
        </pc:spChg>
        <pc:spChg chg="mod">
          <ac:chgData name="Mikami, Maho" userId="50612f1b-df2d-47bb-8fdd-7ddedc83fc7e" providerId="ADAL" clId="{5CBE12F2-F3C8-4DCE-AD77-5EBD7EED8DBF}" dt="2024-03-24T06:33:16.207" v="4566" actId="948"/>
          <ac:spMkLst>
            <pc:docMk/>
            <pc:sldMk cId="1805811011" sldId="2147378643"/>
            <ac:spMk id="9" creationId="{AE399A2B-7760-B687-0FFA-C43A562B0500}"/>
          </ac:spMkLst>
        </pc:spChg>
        <pc:graphicFrameChg chg="mod">
          <ac:chgData name="Mikami, Maho" userId="50612f1b-df2d-47bb-8fdd-7ddedc83fc7e" providerId="ADAL" clId="{5CBE12F2-F3C8-4DCE-AD77-5EBD7EED8DBF}" dt="2024-03-24T06:33:16.220" v="4570"/>
          <ac:graphicFrameMkLst>
            <pc:docMk/>
            <pc:sldMk cId="1805811011" sldId="2147378643"/>
            <ac:graphicFrameMk id="5" creationId="{C2B6F089-FB91-CDC8-7303-932DF8BCCE89}"/>
          </ac:graphicFrameMkLst>
        </pc:graphicFrameChg>
        <pc:graphicFrameChg chg="modGraphic">
          <ac:chgData name="Mikami, Maho" userId="50612f1b-df2d-47bb-8fdd-7ddedc83fc7e" providerId="ADAL" clId="{5CBE12F2-F3C8-4DCE-AD77-5EBD7EED8DBF}" dt="2024-03-24T04:11:39.487" v="1934" actId="2164"/>
          <ac:graphicFrameMkLst>
            <pc:docMk/>
            <pc:sldMk cId="1805811011" sldId="2147378643"/>
            <ac:graphicFrameMk id="13" creationId="{50E9E96A-FD26-603D-DD3F-FD8D762A7EBB}"/>
          </ac:graphicFrameMkLst>
        </pc:graphicFrameChg>
      </pc:sldChg>
      <pc:sldChg chg="addSp delSp modSp mod">
        <pc:chgData name="Mikami, Maho" userId="50612f1b-df2d-47bb-8fdd-7ddedc83fc7e" providerId="ADAL" clId="{5CBE12F2-F3C8-4DCE-AD77-5EBD7EED8DBF}" dt="2024-03-24T07:31:03.695" v="6707" actId="1035"/>
        <pc:sldMkLst>
          <pc:docMk/>
          <pc:sldMk cId="4186158384" sldId="2147378644"/>
        </pc:sldMkLst>
        <pc:spChg chg="mod">
          <ac:chgData name="Mikami, Maho" userId="50612f1b-df2d-47bb-8fdd-7ddedc83fc7e" providerId="ADAL" clId="{5CBE12F2-F3C8-4DCE-AD77-5EBD7EED8DBF}" dt="2024-03-24T04:01:38.547" v="1644"/>
          <ac:spMkLst>
            <pc:docMk/>
            <pc:sldMk cId="4186158384" sldId="2147378644"/>
            <ac:spMk id="3" creationId="{092C27A8-BB62-72B8-B8C0-F8AF62BE1C59}"/>
          </ac:spMkLst>
        </pc:spChg>
        <pc:spChg chg="mod">
          <ac:chgData name="Mikami, Maho" userId="50612f1b-df2d-47bb-8fdd-7ddedc83fc7e" providerId="ADAL" clId="{5CBE12F2-F3C8-4DCE-AD77-5EBD7EED8DBF}" dt="2024-03-24T04:55:53.727" v="2724" actId="948"/>
          <ac:spMkLst>
            <pc:docMk/>
            <pc:sldMk cId="4186158384" sldId="2147378644"/>
            <ac:spMk id="4" creationId="{9A77793A-6FD1-95D9-8A62-34EA102E3C19}"/>
          </ac:spMkLst>
        </pc:spChg>
        <pc:spChg chg="add mod">
          <ac:chgData name="Mikami, Maho" userId="50612f1b-df2d-47bb-8fdd-7ddedc83fc7e" providerId="ADAL" clId="{5CBE12F2-F3C8-4DCE-AD77-5EBD7EED8DBF}" dt="2024-03-24T07:07:44.393" v="4975" actId="14100"/>
          <ac:spMkLst>
            <pc:docMk/>
            <pc:sldMk cId="4186158384" sldId="2147378644"/>
            <ac:spMk id="5" creationId="{5929DA61-9492-16C6-77EC-2F6154CAB4D5}"/>
          </ac:spMkLst>
        </pc:spChg>
        <pc:spChg chg="del mod">
          <ac:chgData name="Mikami, Maho" userId="50612f1b-df2d-47bb-8fdd-7ddedc83fc7e" providerId="ADAL" clId="{5CBE12F2-F3C8-4DCE-AD77-5EBD7EED8DBF}" dt="2024-03-24T07:03:06.225" v="4692" actId="478"/>
          <ac:spMkLst>
            <pc:docMk/>
            <pc:sldMk cId="4186158384" sldId="2147378644"/>
            <ac:spMk id="7" creationId="{222C1F65-A6E5-C874-BDE7-97EE38DA79D2}"/>
          </ac:spMkLst>
        </pc:spChg>
        <pc:spChg chg="mod">
          <ac:chgData name="Mikami, Maho" userId="50612f1b-df2d-47bb-8fdd-7ddedc83fc7e" providerId="ADAL" clId="{5CBE12F2-F3C8-4DCE-AD77-5EBD7EED8DBF}" dt="2024-03-24T07:06:31.301" v="4946" actId="1035"/>
          <ac:spMkLst>
            <pc:docMk/>
            <pc:sldMk cId="4186158384" sldId="2147378644"/>
            <ac:spMk id="10" creationId="{03A39EDF-8745-AF9D-17B2-B285ECED9F56}"/>
          </ac:spMkLst>
        </pc:spChg>
        <pc:spChg chg="mod">
          <ac:chgData name="Mikami, Maho" userId="50612f1b-df2d-47bb-8fdd-7ddedc83fc7e" providerId="ADAL" clId="{5CBE12F2-F3C8-4DCE-AD77-5EBD7EED8DBF}" dt="2024-03-24T07:07:36.519" v="4973" actId="1035"/>
          <ac:spMkLst>
            <pc:docMk/>
            <pc:sldMk cId="4186158384" sldId="2147378644"/>
            <ac:spMk id="12" creationId="{7DDB96D5-A9F5-444E-2565-C271B5960BA4}"/>
          </ac:spMkLst>
        </pc:spChg>
        <pc:spChg chg="add del mod">
          <ac:chgData name="Mikami, Maho" userId="50612f1b-df2d-47bb-8fdd-7ddedc83fc7e" providerId="ADAL" clId="{5CBE12F2-F3C8-4DCE-AD77-5EBD7EED8DBF}" dt="2024-03-24T07:07:14.003" v="4966" actId="478"/>
          <ac:spMkLst>
            <pc:docMk/>
            <pc:sldMk cId="4186158384" sldId="2147378644"/>
            <ac:spMk id="16" creationId="{D82731B7-5750-703C-4B7E-BF51E0DCA3F7}"/>
          </ac:spMkLst>
        </pc:spChg>
        <pc:spChg chg="add del mod">
          <ac:chgData name="Mikami, Maho" userId="50612f1b-df2d-47bb-8fdd-7ddedc83fc7e" providerId="ADAL" clId="{5CBE12F2-F3C8-4DCE-AD77-5EBD7EED8DBF}" dt="2024-03-24T07:08:23.850" v="5072" actId="478"/>
          <ac:spMkLst>
            <pc:docMk/>
            <pc:sldMk cId="4186158384" sldId="2147378644"/>
            <ac:spMk id="17" creationId="{86F0F3BA-31D5-CB5F-DAA4-6F832E98B5D6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19" creationId="{35B280C7-CA5E-F0C6-68E2-40EE6742AF62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20" creationId="{77FA37A2-3D19-64A0-1D6B-68239720DFA8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21" creationId="{1C6EC807-1E37-FAF3-1C9F-E3C46F1AFAD8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22" creationId="{E7E9367E-A6CE-05CA-47DC-618127082E39}"/>
          </ac:spMkLst>
        </pc:spChg>
        <pc:spChg chg="del">
          <ac:chgData name="Mikami, Maho" userId="50612f1b-df2d-47bb-8fdd-7ddedc83fc7e" providerId="ADAL" clId="{5CBE12F2-F3C8-4DCE-AD77-5EBD7EED8DBF}" dt="2024-03-24T07:07:14.003" v="4966" actId="478"/>
          <ac:spMkLst>
            <pc:docMk/>
            <pc:sldMk cId="4186158384" sldId="2147378644"/>
            <ac:spMk id="23" creationId="{3B4E9364-AA14-FAB0-8D8D-7AB72E4B3A4A}"/>
          </ac:spMkLst>
        </pc:spChg>
        <pc:spChg chg="del mod">
          <ac:chgData name="Mikami, Maho" userId="50612f1b-df2d-47bb-8fdd-7ddedc83fc7e" providerId="ADAL" clId="{5CBE12F2-F3C8-4DCE-AD77-5EBD7EED8DBF}" dt="2024-03-24T07:07:14.003" v="4966" actId="478"/>
          <ac:spMkLst>
            <pc:docMk/>
            <pc:sldMk cId="4186158384" sldId="2147378644"/>
            <ac:spMk id="24" creationId="{6812ECF5-219C-F96E-DC34-885D07A885CB}"/>
          </ac:spMkLst>
        </pc:spChg>
        <pc:spChg chg="del">
          <ac:chgData name="Mikami, Maho" userId="50612f1b-df2d-47bb-8fdd-7ddedc83fc7e" providerId="ADAL" clId="{5CBE12F2-F3C8-4DCE-AD77-5EBD7EED8DBF}" dt="2024-03-24T07:07:14.003" v="4966" actId="478"/>
          <ac:spMkLst>
            <pc:docMk/>
            <pc:sldMk cId="4186158384" sldId="2147378644"/>
            <ac:spMk id="25" creationId="{2C4F13DB-EF49-E9D8-5C50-FFD25408D991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26" creationId="{B0B6ED99-9E0B-6E0A-EBF1-E99B1E87524C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27" creationId="{19B054EB-C550-AA04-1B15-85F52E2048E3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28" creationId="{E51DE320-4174-80E1-9613-75E0B9A330DC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29" creationId="{702F676C-C111-4671-E273-B4CBF4905EE6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30" creationId="{FD69D26B-368F-FEE5-E3D7-D150560A4CFD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31" creationId="{A287243F-1291-C9CD-3A55-10FDC6966BD5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32" creationId="{0731FFA3-D256-86D9-8483-1ABF52F4F173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34" creationId="{0BE88BF1-065F-8F07-5EAC-D89BFD2A7D5B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38" creationId="{80874058-AC76-1161-2B1F-03C135EE0AD0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39" creationId="{00F46FC2-D2A3-2C19-4536-EC09EA0A1BCE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40" creationId="{5C0659B3-9E94-7609-30C2-95D435DF5AF6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41" creationId="{87DC25F0-C0B4-C147-1C55-DD400A977CA6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42" creationId="{9A80B6DD-A756-1700-F53D-32CF562828DB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43" creationId="{FE74082F-0FC1-DA4B-3D30-8EEF98D639CF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44" creationId="{98033BDC-BE6F-2038-7B09-F76459ED7C06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45" creationId="{E0E14667-6EBC-0917-92EC-19A4E60A83AD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46" creationId="{8FE5E2A2-6231-8D78-098C-A0E5DA4A2342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47" creationId="{F191A9BE-6862-72C8-289F-2E6679BEFF04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51" creationId="{4D34E471-450A-309E-6C21-3E6208D50C70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52" creationId="{C5ED0E6F-99CA-479B-613E-D2C1B88E3768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53" creationId="{2DCA143F-AA89-E1FD-DFC0-B00848DA2DED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55" creationId="{356F74A1-3963-B2F5-8399-3AA854804E48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57" creationId="{A39926A6-0C1B-DEF1-9836-347FFFE11F06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58" creationId="{F1EC6160-3EF0-B383-170B-B9F2573B6798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59" creationId="{BB44516F-FCF6-BEB2-196C-DA13B212144E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60" creationId="{FB8C6A40-F3CB-366C-79C9-DADEC7CDDEA9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67" creationId="{AA96B6DC-5677-6B3B-4113-EAF79990ABDC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70" creationId="{FCE4AE95-19F7-818F-F0F5-0926D79915C2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71" creationId="{2F354C49-BBCE-D08D-70AC-3C23611C0E04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74" creationId="{716FF46A-2368-7CFB-ED1E-C94C478B2F78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75" creationId="{E0FDEBA9-DBDD-4F50-59BE-8EE84C39FA2D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76" creationId="{E7F1EE3F-5B62-AF46-5952-AE86150A0D8F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84" creationId="{0E46FC6C-9DE9-077D-3FA8-E1B969B4491D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85" creationId="{FE370207-73F0-2E43-D2E7-80876285E12E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87" creationId="{EDF80C7D-BC08-DF59-8C88-F593BAF91C05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88" creationId="{4FF1DF9B-791F-3873-FAAE-5AD8A9A7330E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89" creationId="{AD9365AB-29B7-A690-8C08-9C57DCE10B7F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90" creationId="{C8B01E9C-AF77-D7DA-A46E-4F3A8C45045C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91" creationId="{F7F1F30C-0760-4D3F-B0D1-75B96A35347B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92" creationId="{0FC20338-25FE-E622-2BA4-A9368897694E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93" creationId="{0BD2C255-B921-6B03-2946-F80D818AEA35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95" creationId="{A2EE99F2-9866-2E85-F7F4-947600AD4016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96" creationId="{769EBA8B-3634-080E-0511-494BFBA9B954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97" creationId="{FB04CA4F-0EC8-0A49-3E50-E4932F397FBB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98" creationId="{66C300D3-FF14-59EE-B119-795D9B7AE9A1}"/>
          </ac:spMkLst>
        </pc:spChg>
        <pc:spChg chg="mod">
          <ac:chgData name="Mikami, Maho" userId="50612f1b-df2d-47bb-8fdd-7ddedc83fc7e" providerId="ADAL" clId="{5CBE12F2-F3C8-4DCE-AD77-5EBD7EED8DBF}" dt="2024-03-24T07:03:06.899" v="4693"/>
          <ac:spMkLst>
            <pc:docMk/>
            <pc:sldMk cId="4186158384" sldId="2147378644"/>
            <ac:spMk id="99" creationId="{6D43C934-8869-569A-26F5-B1F1B3475747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01" creationId="{C2645F1F-9DB7-94AC-C2F6-29FC346E70C4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02" creationId="{3D777A0B-7A30-DA19-EE2A-2F61B975995A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03" creationId="{496EA881-A8EC-F430-65F8-AC05A644BE7E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04" creationId="{79555C27-B582-5B65-DBD2-A7E7702A955B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05" creationId="{039D9CC5-4C57-25F4-F446-AF1413EB40F9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06" creationId="{0CC34DE8-D1BB-A24D-B165-8C6D562F6257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07" creationId="{3821D49F-6E95-6653-DF9E-5B716D26E1FE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08" creationId="{D64426CC-502B-F6B8-AB39-1A8C1DA95E11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09" creationId="{692FEFFF-B1AA-6AFD-51AD-20053F70869A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10" creationId="{70CB168C-A788-BFBF-4844-E6527B3DCB74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11" creationId="{4DDFAA5D-1319-D0C4-08AD-E0007D834D4E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13" creationId="{30A3234C-9F78-744A-D4FD-CC09591E87CF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17" creationId="{173C319B-1FEB-1109-4A2B-2BE3BB2EDC36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18" creationId="{474EC7FD-813F-5652-CD6A-A7759843EE89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19" creationId="{90A28747-4832-F999-F02C-FD2DCE5C6A7F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20" creationId="{4AD82941-858C-5329-2317-A682B7E611FE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21" creationId="{78CA1DEF-2235-0BA9-ADB3-01FCBCFF5921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22" creationId="{81898300-7B44-2BE6-A27B-C91169EC6146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23" creationId="{639C6E7D-5FC0-8669-5E63-9AF58CF00F1A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24" creationId="{60D90DF3-27D4-F61E-B67C-8318FFF3D8CD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25" creationId="{AE8D7497-1A51-03B9-F1EF-4CC2CA56BD1B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26" creationId="{0D11A4AB-CD2E-D4BA-1287-D92DC45D77EF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30" creationId="{699F8769-EBBE-4ACD-65C6-0E85978CD364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31" creationId="{D9FC0991-0184-4F34-8E58-3DA5717C7623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32" creationId="{5DF89AC3-26F5-6F6C-CD43-B53840AAD1B1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34" creationId="{A962DFF3-CB8F-559A-D874-66A7EF9487BE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36" creationId="{0216B5F6-CEBC-BF01-E67B-B83E326703FD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37" creationId="{DC0F81F6-6740-5955-5F4B-1AB09B43E0F6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38" creationId="{5D10962D-8C56-309C-67A8-6E868B270F78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39" creationId="{2EE2F2EE-E8C1-7447-0BD2-5257201F8662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46" creationId="{51AE1A12-3284-3E05-8BF1-D2D75D1BB8C4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49" creationId="{13D1E651-062B-B84C-550C-4FF8739BCB68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50" creationId="{D33CC146-AA89-2EDA-0A85-EAAC3B05CCF0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53" creationId="{B3DBBF75-755E-B62A-7EB1-3959DAAAFAB4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54" creationId="{3C277AC6-2ABC-F44C-AB76-B1B8EF209FE2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55" creationId="{A164AA63-9EA3-AE53-F2E3-71E53992D170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63" creationId="{545E9CA6-CCEC-8575-A349-1AB35E7AC741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64" creationId="{E11F8876-A7DF-A26C-0800-C268C374BB59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66" creationId="{ACBBA1F8-9590-1B9C-472E-2E409A3006D3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67" creationId="{E85C04D6-27DE-1254-1BE0-8BFC994BDA31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68" creationId="{1C3A73BD-621A-CCD6-E5AA-DACB58A220B6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69" creationId="{989F6C55-FC78-CA70-4836-FCBC9CC01AF5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70" creationId="{95DBC30C-4FF2-60AF-7429-A1E92E5F4D33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71" creationId="{76C60C28-D422-A320-E2C5-31F236E648B4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72" creationId="{DC1D339E-2399-8968-6E32-8CD71F00A6A3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74" creationId="{BF2366A1-7AA0-7510-7040-1FA93BA7FD9A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75" creationId="{89223AA0-CF2B-5A87-88A1-51B3ED7D671B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76" creationId="{A4CBF70C-CE3B-E946-1081-D185B364818A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77" creationId="{DA833005-53EE-F55B-A571-7C316E7097C3}"/>
          </ac:spMkLst>
        </pc:spChg>
        <pc:spChg chg="mod">
          <ac:chgData name="Mikami, Maho" userId="50612f1b-df2d-47bb-8fdd-7ddedc83fc7e" providerId="ADAL" clId="{5CBE12F2-F3C8-4DCE-AD77-5EBD7EED8DBF}" dt="2024-03-24T07:03:36.110" v="4699" actId="255"/>
          <ac:spMkLst>
            <pc:docMk/>
            <pc:sldMk cId="4186158384" sldId="2147378644"/>
            <ac:spMk id="178" creationId="{77A9A2CA-6C95-E607-1499-283954F4C219}"/>
          </ac:spMkLst>
        </pc:spChg>
        <pc:spChg chg="add mod">
          <ac:chgData name="Mikami, Maho" userId="50612f1b-df2d-47bb-8fdd-7ddedc83fc7e" providerId="ADAL" clId="{5CBE12F2-F3C8-4DCE-AD77-5EBD7EED8DBF}" dt="2024-03-24T07:31:03.695" v="6707" actId="1035"/>
          <ac:spMkLst>
            <pc:docMk/>
            <pc:sldMk cId="4186158384" sldId="2147378644"/>
            <ac:spMk id="179" creationId="{CF64EC44-CFE5-A1DF-86FD-4B44650CDF89}"/>
          </ac:spMkLst>
        </pc:spChg>
        <pc:spChg chg="add mod">
          <ac:chgData name="Mikami, Maho" userId="50612f1b-df2d-47bb-8fdd-7ddedc83fc7e" providerId="ADAL" clId="{5CBE12F2-F3C8-4DCE-AD77-5EBD7EED8DBF}" dt="2024-03-24T07:08:21.845" v="5070"/>
          <ac:spMkLst>
            <pc:docMk/>
            <pc:sldMk cId="4186158384" sldId="2147378644"/>
            <ac:spMk id="180" creationId="{46C0EAB9-0A7D-E06A-0909-58A3537554E7}"/>
          </ac:spMkLst>
        </pc:spChg>
        <pc:spChg chg="add mod">
          <ac:chgData name="Mikami, Maho" userId="50612f1b-df2d-47bb-8fdd-7ddedc83fc7e" providerId="ADAL" clId="{5CBE12F2-F3C8-4DCE-AD77-5EBD7EED8DBF}" dt="2024-03-24T07:08:13.667" v="5042" actId="20577"/>
          <ac:spMkLst>
            <pc:docMk/>
            <pc:sldMk cId="4186158384" sldId="2147378644"/>
            <ac:spMk id="181" creationId="{85C28915-DF8F-2B32-E4E3-D2C19CC8C51E}"/>
          </ac:spMkLst>
        </pc:spChg>
        <pc:spChg chg="add mod">
          <ac:chgData name="Mikami, Maho" userId="50612f1b-df2d-47bb-8fdd-7ddedc83fc7e" providerId="ADAL" clId="{5CBE12F2-F3C8-4DCE-AD77-5EBD7EED8DBF}" dt="2024-03-24T07:30:57.352" v="6686"/>
          <ac:spMkLst>
            <pc:docMk/>
            <pc:sldMk cId="4186158384" sldId="2147378644"/>
            <ac:spMk id="182" creationId="{A9206EFB-3D1A-5DB3-D4E8-4A0CBDC06C78}"/>
          </ac:spMkLst>
        </pc:spChg>
        <pc:grpChg chg="add del mod">
          <ac:chgData name="Mikami, Maho" userId="50612f1b-df2d-47bb-8fdd-7ddedc83fc7e" providerId="ADAL" clId="{5CBE12F2-F3C8-4DCE-AD77-5EBD7EED8DBF}" dt="2024-03-24T04:57:27.432" v="2803" actId="165"/>
          <ac:grpSpMkLst>
            <pc:docMk/>
            <pc:sldMk cId="4186158384" sldId="2147378644"/>
            <ac:grpSpMk id="6" creationId="{CC7812BE-31FB-0B8A-54F6-C5F374424722}"/>
          </ac:grpSpMkLst>
        </pc:grpChg>
        <pc:grpChg chg="mod topLvl">
          <ac:chgData name="Mikami, Maho" userId="50612f1b-df2d-47bb-8fdd-7ddedc83fc7e" providerId="ADAL" clId="{5CBE12F2-F3C8-4DCE-AD77-5EBD7EED8DBF}" dt="2024-03-24T07:07:36.519" v="4973" actId="1035"/>
          <ac:grpSpMkLst>
            <pc:docMk/>
            <pc:sldMk cId="4186158384" sldId="2147378644"/>
            <ac:grpSpMk id="8" creationId="{838224B0-6750-1F07-DAF4-38330ADCF9FE}"/>
          </ac:grpSpMkLst>
        </pc:grpChg>
        <pc:grpChg chg="del mod topLvl">
          <ac:chgData name="Mikami, Maho" userId="50612f1b-df2d-47bb-8fdd-7ddedc83fc7e" providerId="ADAL" clId="{5CBE12F2-F3C8-4DCE-AD77-5EBD7EED8DBF}" dt="2024-03-24T07:06:41.916" v="4949" actId="478"/>
          <ac:grpSpMkLst>
            <pc:docMk/>
            <pc:sldMk cId="4186158384" sldId="2147378644"/>
            <ac:grpSpMk id="9" creationId="{EBFD8DD9-4CD6-9BC2-4C3A-96A087D177E8}"/>
          </ac:grpSpMkLst>
        </pc:grpChg>
        <pc:grpChg chg="add mod">
          <ac:chgData name="Mikami, Maho" userId="50612f1b-df2d-47bb-8fdd-7ddedc83fc7e" providerId="ADAL" clId="{5CBE12F2-F3C8-4DCE-AD77-5EBD7EED8DBF}" dt="2024-03-24T07:03:06.899" v="4693"/>
          <ac:grpSpMkLst>
            <pc:docMk/>
            <pc:sldMk cId="4186158384" sldId="2147378644"/>
            <ac:grpSpMk id="18" creationId="{DCDFDFA4-D018-CCE2-1FAB-FB5E777D1E76}"/>
          </ac:grpSpMkLst>
        </pc:grpChg>
        <pc:grpChg chg="mod">
          <ac:chgData name="Mikami, Maho" userId="50612f1b-df2d-47bb-8fdd-7ddedc83fc7e" providerId="ADAL" clId="{5CBE12F2-F3C8-4DCE-AD77-5EBD7EED8DBF}" dt="2024-03-24T07:03:06.899" v="4693"/>
          <ac:grpSpMkLst>
            <pc:docMk/>
            <pc:sldMk cId="4186158384" sldId="2147378644"/>
            <ac:grpSpMk id="77" creationId="{05145EFD-67C3-B58E-95B8-BE9E9D6A1048}"/>
          </ac:grpSpMkLst>
        </pc:grpChg>
        <pc:grpChg chg="mod">
          <ac:chgData name="Mikami, Maho" userId="50612f1b-df2d-47bb-8fdd-7ddedc83fc7e" providerId="ADAL" clId="{5CBE12F2-F3C8-4DCE-AD77-5EBD7EED8DBF}" dt="2024-03-24T07:03:06.899" v="4693"/>
          <ac:grpSpMkLst>
            <pc:docMk/>
            <pc:sldMk cId="4186158384" sldId="2147378644"/>
            <ac:grpSpMk id="78" creationId="{F7D94CF3-818A-1080-F054-EE3C7307B526}"/>
          </ac:grpSpMkLst>
        </pc:grpChg>
        <pc:grpChg chg="add mod">
          <ac:chgData name="Mikami, Maho" userId="50612f1b-df2d-47bb-8fdd-7ddedc83fc7e" providerId="ADAL" clId="{5CBE12F2-F3C8-4DCE-AD77-5EBD7EED8DBF}" dt="2024-03-24T07:07:03.494" v="4954" actId="1076"/>
          <ac:grpSpMkLst>
            <pc:docMk/>
            <pc:sldMk cId="4186158384" sldId="2147378644"/>
            <ac:grpSpMk id="100" creationId="{FD5F49C2-EF5C-3155-A87C-1507B1B4E36F}"/>
          </ac:grpSpMkLst>
        </pc:grpChg>
        <pc:grpChg chg="mod">
          <ac:chgData name="Mikami, Maho" userId="50612f1b-df2d-47bb-8fdd-7ddedc83fc7e" providerId="ADAL" clId="{5CBE12F2-F3C8-4DCE-AD77-5EBD7EED8DBF}" dt="2024-03-24T07:03:09.569" v="4694"/>
          <ac:grpSpMkLst>
            <pc:docMk/>
            <pc:sldMk cId="4186158384" sldId="2147378644"/>
            <ac:grpSpMk id="156" creationId="{6A4981F4-ECF8-2803-D80C-A682CE9B7B82}"/>
          </ac:grpSpMkLst>
        </pc:grpChg>
        <pc:grpChg chg="mod">
          <ac:chgData name="Mikami, Maho" userId="50612f1b-df2d-47bb-8fdd-7ddedc83fc7e" providerId="ADAL" clId="{5CBE12F2-F3C8-4DCE-AD77-5EBD7EED8DBF}" dt="2024-03-24T07:03:09.569" v="4694"/>
          <ac:grpSpMkLst>
            <pc:docMk/>
            <pc:sldMk cId="4186158384" sldId="2147378644"/>
            <ac:grpSpMk id="157" creationId="{B03D428E-2254-F267-D09A-17F27CB53B10}"/>
          </ac:grpSpMkLst>
        </pc:grpChg>
        <pc:graphicFrameChg chg="add mod ord modVis replST">
          <ac:chgData name="Mikami, Maho" userId="50612f1b-df2d-47bb-8fdd-7ddedc83fc7e" providerId="ADAL" clId="{5CBE12F2-F3C8-4DCE-AD77-5EBD7EED8DBF}" dt="2024-03-24T04:55:53.734" v="2728"/>
          <ac:graphicFrameMkLst>
            <pc:docMk/>
            <pc:sldMk cId="4186158384" sldId="2147378644"/>
            <ac:graphicFrameMk id="15" creationId="{2D8B9F62-5640-DA60-72EA-D3AA0A3EC839}"/>
          </ac:graphicFrameMkLst>
        </pc:graphicFrameChg>
        <pc:picChg chg="add del mod">
          <ac:chgData name="Mikami, Maho" userId="50612f1b-df2d-47bb-8fdd-7ddedc83fc7e" providerId="ADAL" clId="{5CBE12F2-F3C8-4DCE-AD77-5EBD7EED8DBF}" dt="2024-03-24T04:02:27.564" v="1780" actId="478"/>
          <ac:picMkLst>
            <pc:docMk/>
            <pc:sldMk cId="4186158384" sldId="2147378644"/>
            <ac:picMk id="14" creationId="{C1A33EC1-A348-B8F9-8553-6AD63679EFF9}"/>
          </ac:picMkLst>
        </pc:picChg>
        <pc:cxnChg chg="mod">
          <ac:chgData name="Mikami, Maho" userId="50612f1b-df2d-47bb-8fdd-7ddedc83fc7e" providerId="ADAL" clId="{5CBE12F2-F3C8-4DCE-AD77-5EBD7EED8DBF}" dt="2024-03-24T07:06:31.301" v="4946" actId="1035"/>
          <ac:cxnSpMkLst>
            <pc:docMk/>
            <pc:sldMk cId="4186158384" sldId="2147378644"/>
            <ac:cxnSpMk id="11" creationId="{16C08C3D-008A-D138-C4A4-8813DFDB0A5A}"/>
          </ac:cxnSpMkLst>
        </pc:cxnChg>
        <pc:cxnChg chg="mod">
          <ac:chgData name="Mikami, Maho" userId="50612f1b-df2d-47bb-8fdd-7ddedc83fc7e" providerId="ADAL" clId="{5CBE12F2-F3C8-4DCE-AD77-5EBD7EED8DBF}" dt="2024-03-24T07:07:36.519" v="4973" actId="1035"/>
          <ac:cxnSpMkLst>
            <pc:docMk/>
            <pc:sldMk cId="4186158384" sldId="2147378644"/>
            <ac:cxnSpMk id="13" creationId="{2222F0FB-A4D8-8B17-A5F9-5C85F5FE3E22}"/>
          </ac:cxnSpMkLst>
        </pc:cxnChg>
        <pc:cxnChg chg="mod">
          <ac:chgData name="Mikami, Maho" userId="50612f1b-df2d-47bb-8fdd-7ddedc83fc7e" providerId="ADAL" clId="{5CBE12F2-F3C8-4DCE-AD77-5EBD7EED8DBF}" dt="2024-03-24T07:03:06.899" v="4693"/>
          <ac:cxnSpMkLst>
            <pc:docMk/>
            <pc:sldMk cId="4186158384" sldId="2147378644"/>
            <ac:cxnSpMk id="33" creationId="{C65CB21E-13FC-F00F-C224-045436EC7A46}"/>
          </ac:cxnSpMkLst>
        </pc:cxnChg>
        <pc:cxnChg chg="mod">
          <ac:chgData name="Mikami, Maho" userId="50612f1b-df2d-47bb-8fdd-7ddedc83fc7e" providerId="ADAL" clId="{5CBE12F2-F3C8-4DCE-AD77-5EBD7EED8DBF}" dt="2024-03-24T07:03:06.899" v="4693"/>
          <ac:cxnSpMkLst>
            <pc:docMk/>
            <pc:sldMk cId="4186158384" sldId="2147378644"/>
            <ac:cxnSpMk id="35" creationId="{43E70E4B-21B6-BBE8-B3C6-CAB7AF890C47}"/>
          </ac:cxnSpMkLst>
        </pc:cxnChg>
        <pc:cxnChg chg="mod">
          <ac:chgData name="Mikami, Maho" userId="50612f1b-df2d-47bb-8fdd-7ddedc83fc7e" providerId="ADAL" clId="{5CBE12F2-F3C8-4DCE-AD77-5EBD7EED8DBF}" dt="2024-03-24T07:03:06.899" v="4693"/>
          <ac:cxnSpMkLst>
            <pc:docMk/>
            <pc:sldMk cId="4186158384" sldId="2147378644"/>
            <ac:cxnSpMk id="36" creationId="{7B49A2B3-9007-ABB9-2E9B-EA4D25BDB507}"/>
          </ac:cxnSpMkLst>
        </pc:cxnChg>
        <pc:cxnChg chg="mod">
          <ac:chgData name="Mikami, Maho" userId="50612f1b-df2d-47bb-8fdd-7ddedc83fc7e" providerId="ADAL" clId="{5CBE12F2-F3C8-4DCE-AD77-5EBD7EED8DBF}" dt="2024-03-24T07:03:06.899" v="4693"/>
          <ac:cxnSpMkLst>
            <pc:docMk/>
            <pc:sldMk cId="4186158384" sldId="2147378644"/>
            <ac:cxnSpMk id="37" creationId="{61FE0AC8-BE01-5B09-D78D-5F9ACCC48FAD}"/>
          </ac:cxnSpMkLst>
        </pc:cxnChg>
        <pc:cxnChg chg="mod">
          <ac:chgData name="Mikami, Maho" userId="50612f1b-df2d-47bb-8fdd-7ddedc83fc7e" providerId="ADAL" clId="{5CBE12F2-F3C8-4DCE-AD77-5EBD7EED8DBF}" dt="2024-03-24T07:03:06.899" v="4693"/>
          <ac:cxnSpMkLst>
            <pc:docMk/>
            <pc:sldMk cId="4186158384" sldId="2147378644"/>
            <ac:cxnSpMk id="48" creationId="{6FC5E497-43FF-9045-6A66-21D71862A14A}"/>
          </ac:cxnSpMkLst>
        </pc:cxnChg>
        <pc:cxnChg chg="mod">
          <ac:chgData name="Mikami, Maho" userId="50612f1b-df2d-47bb-8fdd-7ddedc83fc7e" providerId="ADAL" clId="{5CBE12F2-F3C8-4DCE-AD77-5EBD7EED8DBF}" dt="2024-03-24T07:03:06.899" v="4693"/>
          <ac:cxnSpMkLst>
            <pc:docMk/>
            <pc:sldMk cId="4186158384" sldId="2147378644"/>
            <ac:cxnSpMk id="49" creationId="{B7E9B8E5-A53C-E33B-28AD-8E81410C2581}"/>
          </ac:cxnSpMkLst>
        </pc:cxnChg>
        <pc:cxnChg chg="mod">
          <ac:chgData name="Mikami, Maho" userId="50612f1b-df2d-47bb-8fdd-7ddedc83fc7e" providerId="ADAL" clId="{5CBE12F2-F3C8-4DCE-AD77-5EBD7EED8DBF}" dt="2024-03-24T07:03:06.899" v="4693"/>
          <ac:cxnSpMkLst>
            <pc:docMk/>
            <pc:sldMk cId="4186158384" sldId="2147378644"/>
            <ac:cxnSpMk id="50" creationId="{14BDF555-D798-806B-9995-48525FB0BA0E}"/>
          </ac:cxnSpMkLst>
        </pc:cxnChg>
        <pc:cxnChg chg="mod">
          <ac:chgData name="Mikami, Maho" userId="50612f1b-df2d-47bb-8fdd-7ddedc83fc7e" providerId="ADAL" clId="{5CBE12F2-F3C8-4DCE-AD77-5EBD7EED8DBF}" dt="2024-03-24T07:03:06.899" v="4693"/>
          <ac:cxnSpMkLst>
            <pc:docMk/>
            <pc:sldMk cId="4186158384" sldId="2147378644"/>
            <ac:cxnSpMk id="54" creationId="{474881C1-1260-287F-C0E2-740E9EEA473F}"/>
          </ac:cxnSpMkLst>
        </pc:cxnChg>
        <pc:cxnChg chg="mod">
          <ac:chgData name="Mikami, Maho" userId="50612f1b-df2d-47bb-8fdd-7ddedc83fc7e" providerId="ADAL" clId="{5CBE12F2-F3C8-4DCE-AD77-5EBD7EED8DBF}" dt="2024-03-24T07:03:06.899" v="4693"/>
          <ac:cxnSpMkLst>
            <pc:docMk/>
            <pc:sldMk cId="4186158384" sldId="2147378644"/>
            <ac:cxnSpMk id="56" creationId="{B4A6BAF4-4BD0-896A-B57C-CA7F93215FE5}"/>
          </ac:cxnSpMkLst>
        </pc:cxnChg>
        <pc:cxnChg chg="mod">
          <ac:chgData name="Mikami, Maho" userId="50612f1b-df2d-47bb-8fdd-7ddedc83fc7e" providerId="ADAL" clId="{5CBE12F2-F3C8-4DCE-AD77-5EBD7EED8DBF}" dt="2024-03-24T07:03:06.899" v="4693"/>
          <ac:cxnSpMkLst>
            <pc:docMk/>
            <pc:sldMk cId="4186158384" sldId="2147378644"/>
            <ac:cxnSpMk id="61" creationId="{EBAD64FC-DB3C-E59F-230D-2C2745B2C9B7}"/>
          </ac:cxnSpMkLst>
        </pc:cxnChg>
        <pc:cxnChg chg="mod">
          <ac:chgData name="Mikami, Maho" userId="50612f1b-df2d-47bb-8fdd-7ddedc83fc7e" providerId="ADAL" clId="{5CBE12F2-F3C8-4DCE-AD77-5EBD7EED8DBF}" dt="2024-03-24T07:03:06.899" v="4693"/>
          <ac:cxnSpMkLst>
            <pc:docMk/>
            <pc:sldMk cId="4186158384" sldId="2147378644"/>
            <ac:cxnSpMk id="62" creationId="{492FE2E8-8FDF-C05C-2004-75110008E3E7}"/>
          </ac:cxnSpMkLst>
        </pc:cxnChg>
        <pc:cxnChg chg="mod">
          <ac:chgData name="Mikami, Maho" userId="50612f1b-df2d-47bb-8fdd-7ddedc83fc7e" providerId="ADAL" clId="{5CBE12F2-F3C8-4DCE-AD77-5EBD7EED8DBF}" dt="2024-03-24T07:03:06.899" v="4693"/>
          <ac:cxnSpMkLst>
            <pc:docMk/>
            <pc:sldMk cId="4186158384" sldId="2147378644"/>
            <ac:cxnSpMk id="63" creationId="{373C74A7-BAF8-1369-3AC8-7079E22FD82D}"/>
          </ac:cxnSpMkLst>
        </pc:cxnChg>
        <pc:cxnChg chg="mod">
          <ac:chgData name="Mikami, Maho" userId="50612f1b-df2d-47bb-8fdd-7ddedc83fc7e" providerId="ADAL" clId="{5CBE12F2-F3C8-4DCE-AD77-5EBD7EED8DBF}" dt="2024-03-24T07:03:06.899" v="4693"/>
          <ac:cxnSpMkLst>
            <pc:docMk/>
            <pc:sldMk cId="4186158384" sldId="2147378644"/>
            <ac:cxnSpMk id="64" creationId="{21B27F10-F831-512C-9FB5-38C1AB5B7B95}"/>
          </ac:cxnSpMkLst>
        </pc:cxnChg>
        <pc:cxnChg chg="mod">
          <ac:chgData name="Mikami, Maho" userId="50612f1b-df2d-47bb-8fdd-7ddedc83fc7e" providerId="ADAL" clId="{5CBE12F2-F3C8-4DCE-AD77-5EBD7EED8DBF}" dt="2024-03-24T07:03:06.899" v="4693"/>
          <ac:cxnSpMkLst>
            <pc:docMk/>
            <pc:sldMk cId="4186158384" sldId="2147378644"/>
            <ac:cxnSpMk id="65" creationId="{C77BF5DB-E501-FECD-13F3-F7DEC8B4B062}"/>
          </ac:cxnSpMkLst>
        </pc:cxnChg>
        <pc:cxnChg chg="mod">
          <ac:chgData name="Mikami, Maho" userId="50612f1b-df2d-47bb-8fdd-7ddedc83fc7e" providerId="ADAL" clId="{5CBE12F2-F3C8-4DCE-AD77-5EBD7EED8DBF}" dt="2024-03-24T07:03:06.899" v="4693"/>
          <ac:cxnSpMkLst>
            <pc:docMk/>
            <pc:sldMk cId="4186158384" sldId="2147378644"/>
            <ac:cxnSpMk id="66" creationId="{1B05E114-D631-D05B-F252-828BC4CBFF57}"/>
          </ac:cxnSpMkLst>
        </pc:cxnChg>
        <pc:cxnChg chg="mod">
          <ac:chgData name="Mikami, Maho" userId="50612f1b-df2d-47bb-8fdd-7ddedc83fc7e" providerId="ADAL" clId="{5CBE12F2-F3C8-4DCE-AD77-5EBD7EED8DBF}" dt="2024-03-24T07:03:06.899" v="4693"/>
          <ac:cxnSpMkLst>
            <pc:docMk/>
            <pc:sldMk cId="4186158384" sldId="2147378644"/>
            <ac:cxnSpMk id="68" creationId="{543981D0-3A08-9078-27F9-AF1E4EC262F1}"/>
          </ac:cxnSpMkLst>
        </pc:cxnChg>
        <pc:cxnChg chg="mod">
          <ac:chgData name="Mikami, Maho" userId="50612f1b-df2d-47bb-8fdd-7ddedc83fc7e" providerId="ADAL" clId="{5CBE12F2-F3C8-4DCE-AD77-5EBD7EED8DBF}" dt="2024-03-24T07:03:06.899" v="4693"/>
          <ac:cxnSpMkLst>
            <pc:docMk/>
            <pc:sldMk cId="4186158384" sldId="2147378644"/>
            <ac:cxnSpMk id="69" creationId="{E4D30B1E-C601-264C-8298-DB2396B19026}"/>
          </ac:cxnSpMkLst>
        </pc:cxnChg>
        <pc:cxnChg chg="mod">
          <ac:chgData name="Mikami, Maho" userId="50612f1b-df2d-47bb-8fdd-7ddedc83fc7e" providerId="ADAL" clId="{5CBE12F2-F3C8-4DCE-AD77-5EBD7EED8DBF}" dt="2024-03-24T07:03:06.899" v="4693"/>
          <ac:cxnSpMkLst>
            <pc:docMk/>
            <pc:sldMk cId="4186158384" sldId="2147378644"/>
            <ac:cxnSpMk id="72" creationId="{2282A5A2-3995-2BD9-5948-6EF39DD80E41}"/>
          </ac:cxnSpMkLst>
        </pc:cxnChg>
        <pc:cxnChg chg="mod">
          <ac:chgData name="Mikami, Maho" userId="50612f1b-df2d-47bb-8fdd-7ddedc83fc7e" providerId="ADAL" clId="{5CBE12F2-F3C8-4DCE-AD77-5EBD7EED8DBF}" dt="2024-03-24T07:03:06.899" v="4693"/>
          <ac:cxnSpMkLst>
            <pc:docMk/>
            <pc:sldMk cId="4186158384" sldId="2147378644"/>
            <ac:cxnSpMk id="73" creationId="{DB9C5D95-E5F5-E71C-D8CD-4B3BA765FA03}"/>
          </ac:cxnSpMkLst>
        </pc:cxnChg>
        <pc:cxnChg chg="mod">
          <ac:chgData name="Mikami, Maho" userId="50612f1b-df2d-47bb-8fdd-7ddedc83fc7e" providerId="ADAL" clId="{5CBE12F2-F3C8-4DCE-AD77-5EBD7EED8DBF}" dt="2024-03-24T07:03:06.899" v="4693"/>
          <ac:cxnSpMkLst>
            <pc:docMk/>
            <pc:sldMk cId="4186158384" sldId="2147378644"/>
            <ac:cxnSpMk id="79" creationId="{DA988BAA-7298-2998-CE36-D4A23324BA56}"/>
          </ac:cxnSpMkLst>
        </pc:cxnChg>
        <pc:cxnChg chg="mod">
          <ac:chgData name="Mikami, Maho" userId="50612f1b-df2d-47bb-8fdd-7ddedc83fc7e" providerId="ADAL" clId="{5CBE12F2-F3C8-4DCE-AD77-5EBD7EED8DBF}" dt="2024-03-24T07:03:06.899" v="4693"/>
          <ac:cxnSpMkLst>
            <pc:docMk/>
            <pc:sldMk cId="4186158384" sldId="2147378644"/>
            <ac:cxnSpMk id="80" creationId="{F5BA45B7-323E-9D22-A46F-CA5854C3AA66}"/>
          </ac:cxnSpMkLst>
        </pc:cxnChg>
        <pc:cxnChg chg="mod">
          <ac:chgData name="Mikami, Maho" userId="50612f1b-df2d-47bb-8fdd-7ddedc83fc7e" providerId="ADAL" clId="{5CBE12F2-F3C8-4DCE-AD77-5EBD7EED8DBF}" dt="2024-03-24T07:03:06.899" v="4693"/>
          <ac:cxnSpMkLst>
            <pc:docMk/>
            <pc:sldMk cId="4186158384" sldId="2147378644"/>
            <ac:cxnSpMk id="81" creationId="{14BD9890-A583-0332-4012-0FDCA82975B9}"/>
          </ac:cxnSpMkLst>
        </pc:cxnChg>
        <pc:cxnChg chg="mod">
          <ac:chgData name="Mikami, Maho" userId="50612f1b-df2d-47bb-8fdd-7ddedc83fc7e" providerId="ADAL" clId="{5CBE12F2-F3C8-4DCE-AD77-5EBD7EED8DBF}" dt="2024-03-24T07:03:06.899" v="4693"/>
          <ac:cxnSpMkLst>
            <pc:docMk/>
            <pc:sldMk cId="4186158384" sldId="2147378644"/>
            <ac:cxnSpMk id="82" creationId="{69D6C4E7-4859-F983-F8B4-CCD4D71CC5CC}"/>
          </ac:cxnSpMkLst>
        </pc:cxnChg>
        <pc:cxnChg chg="mod">
          <ac:chgData name="Mikami, Maho" userId="50612f1b-df2d-47bb-8fdd-7ddedc83fc7e" providerId="ADAL" clId="{5CBE12F2-F3C8-4DCE-AD77-5EBD7EED8DBF}" dt="2024-03-24T07:03:06.899" v="4693"/>
          <ac:cxnSpMkLst>
            <pc:docMk/>
            <pc:sldMk cId="4186158384" sldId="2147378644"/>
            <ac:cxnSpMk id="83" creationId="{709E948E-8693-38FF-FEC4-637E94DBA50E}"/>
          </ac:cxnSpMkLst>
        </pc:cxnChg>
        <pc:cxnChg chg="mod">
          <ac:chgData name="Mikami, Maho" userId="50612f1b-df2d-47bb-8fdd-7ddedc83fc7e" providerId="ADAL" clId="{5CBE12F2-F3C8-4DCE-AD77-5EBD7EED8DBF}" dt="2024-03-24T07:03:06.899" v="4693"/>
          <ac:cxnSpMkLst>
            <pc:docMk/>
            <pc:sldMk cId="4186158384" sldId="2147378644"/>
            <ac:cxnSpMk id="86" creationId="{6B426EBF-21EC-E583-58C3-501F59E42D1B}"/>
          </ac:cxnSpMkLst>
        </pc:cxnChg>
        <pc:cxnChg chg="mod">
          <ac:chgData name="Mikami, Maho" userId="50612f1b-df2d-47bb-8fdd-7ddedc83fc7e" providerId="ADAL" clId="{5CBE12F2-F3C8-4DCE-AD77-5EBD7EED8DBF}" dt="2024-03-24T07:03:06.899" v="4693"/>
          <ac:cxnSpMkLst>
            <pc:docMk/>
            <pc:sldMk cId="4186158384" sldId="2147378644"/>
            <ac:cxnSpMk id="94" creationId="{50C5E50E-FD8D-C84F-29CF-CAF084952DC1}"/>
          </ac:cxnSpMkLst>
        </pc:cxnChg>
        <pc:cxnChg chg="mod">
          <ac:chgData name="Mikami, Maho" userId="50612f1b-df2d-47bb-8fdd-7ddedc83fc7e" providerId="ADAL" clId="{5CBE12F2-F3C8-4DCE-AD77-5EBD7EED8DBF}" dt="2024-03-24T07:03:09.569" v="4694"/>
          <ac:cxnSpMkLst>
            <pc:docMk/>
            <pc:sldMk cId="4186158384" sldId="2147378644"/>
            <ac:cxnSpMk id="112" creationId="{28D914FE-2DD6-862F-AB8B-8339288C17A1}"/>
          </ac:cxnSpMkLst>
        </pc:cxnChg>
        <pc:cxnChg chg="mod">
          <ac:chgData name="Mikami, Maho" userId="50612f1b-df2d-47bb-8fdd-7ddedc83fc7e" providerId="ADAL" clId="{5CBE12F2-F3C8-4DCE-AD77-5EBD7EED8DBF}" dt="2024-03-24T07:03:09.569" v="4694"/>
          <ac:cxnSpMkLst>
            <pc:docMk/>
            <pc:sldMk cId="4186158384" sldId="2147378644"/>
            <ac:cxnSpMk id="114" creationId="{76C17139-59FA-EBB4-7245-A4D05240CA35}"/>
          </ac:cxnSpMkLst>
        </pc:cxnChg>
        <pc:cxnChg chg="mod">
          <ac:chgData name="Mikami, Maho" userId="50612f1b-df2d-47bb-8fdd-7ddedc83fc7e" providerId="ADAL" clId="{5CBE12F2-F3C8-4DCE-AD77-5EBD7EED8DBF}" dt="2024-03-24T07:03:09.569" v="4694"/>
          <ac:cxnSpMkLst>
            <pc:docMk/>
            <pc:sldMk cId="4186158384" sldId="2147378644"/>
            <ac:cxnSpMk id="115" creationId="{541CAD55-8663-4896-13EF-838097773D57}"/>
          </ac:cxnSpMkLst>
        </pc:cxnChg>
        <pc:cxnChg chg="mod">
          <ac:chgData name="Mikami, Maho" userId="50612f1b-df2d-47bb-8fdd-7ddedc83fc7e" providerId="ADAL" clId="{5CBE12F2-F3C8-4DCE-AD77-5EBD7EED8DBF}" dt="2024-03-24T07:03:09.569" v="4694"/>
          <ac:cxnSpMkLst>
            <pc:docMk/>
            <pc:sldMk cId="4186158384" sldId="2147378644"/>
            <ac:cxnSpMk id="116" creationId="{766D5174-F995-2088-C500-4159CB122E5F}"/>
          </ac:cxnSpMkLst>
        </pc:cxnChg>
        <pc:cxnChg chg="mod">
          <ac:chgData name="Mikami, Maho" userId="50612f1b-df2d-47bb-8fdd-7ddedc83fc7e" providerId="ADAL" clId="{5CBE12F2-F3C8-4DCE-AD77-5EBD7EED8DBF}" dt="2024-03-24T07:03:09.569" v="4694"/>
          <ac:cxnSpMkLst>
            <pc:docMk/>
            <pc:sldMk cId="4186158384" sldId="2147378644"/>
            <ac:cxnSpMk id="127" creationId="{674A3D0D-A6F1-D803-0DCF-BBF9836BD745}"/>
          </ac:cxnSpMkLst>
        </pc:cxnChg>
        <pc:cxnChg chg="mod">
          <ac:chgData name="Mikami, Maho" userId="50612f1b-df2d-47bb-8fdd-7ddedc83fc7e" providerId="ADAL" clId="{5CBE12F2-F3C8-4DCE-AD77-5EBD7EED8DBF}" dt="2024-03-24T07:03:09.569" v="4694"/>
          <ac:cxnSpMkLst>
            <pc:docMk/>
            <pc:sldMk cId="4186158384" sldId="2147378644"/>
            <ac:cxnSpMk id="128" creationId="{7AF59539-30A6-9F60-0FB0-EE0810CCC19D}"/>
          </ac:cxnSpMkLst>
        </pc:cxnChg>
        <pc:cxnChg chg="mod">
          <ac:chgData name="Mikami, Maho" userId="50612f1b-df2d-47bb-8fdd-7ddedc83fc7e" providerId="ADAL" clId="{5CBE12F2-F3C8-4DCE-AD77-5EBD7EED8DBF}" dt="2024-03-24T07:03:09.569" v="4694"/>
          <ac:cxnSpMkLst>
            <pc:docMk/>
            <pc:sldMk cId="4186158384" sldId="2147378644"/>
            <ac:cxnSpMk id="129" creationId="{2693CB02-4D19-C6C5-9126-0B5B3A61C9F0}"/>
          </ac:cxnSpMkLst>
        </pc:cxnChg>
        <pc:cxnChg chg="mod">
          <ac:chgData name="Mikami, Maho" userId="50612f1b-df2d-47bb-8fdd-7ddedc83fc7e" providerId="ADAL" clId="{5CBE12F2-F3C8-4DCE-AD77-5EBD7EED8DBF}" dt="2024-03-24T07:03:09.569" v="4694"/>
          <ac:cxnSpMkLst>
            <pc:docMk/>
            <pc:sldMk cId="4186158384" sldId="2147378644"/>
            <ac:cxnSpMk id="133" creationId="{15F348B4-4593-655C-57D3-D0321E4F5EA4}"/>
          </ac:cxnSpMkLst>
        </pc:cxnChg>
        <pc:cxnChg chg="mod">
          <ac:chgData name="Mikami, Maho" userId="50612f1b-df2d-47bb-8fdd-7ddedc83fc7e" providerId="ADAL" clId="{5CBE12F2-F3C8-4DCE-AD77-5EBD7EED8DBF}" dt="2024-03-24T07:03:09.569" v="4694"/>
          <ac:cxnSpMkLst>
            <pc:docMk/>
            <pc:sldMk cId="4186158384" sldId="2147378644"/>
            <ac:cxnSpMk id="135" creationId="{3E1D42F8-85D9-6C24-6593-8EC4A28ED2C0}"/>
          </ac:cxnSpMkLst>
        </pc:cxnChg>
        <pc:cxnChg chg="mod">
          <ac:chgData name="Mikami, Maho" userId="50612f1b-df2d-47bb-8fdd-7ddedc83fc7e" providerId="ADAL" clId="{5CBE12F2-F3C8-4DCE-AD77-5EBD7EED8DBF}" dt="2024-03-24T07:03:09.569" v="4694"/>
          <ac:cxnSpMkLst>
            <pc:docMk/>
            <pc:sldMk cId="4186158384" sldId="2147378644"/>
            <ac:cxnSpMk id="140" creationId="{7DAB4361-A95C-2B94-7844-39CB7A7AEDEF}"/>
          </ac:cxnSpMkLst>
        </pc:cxnChg>
        <pc:cxnChg chg="mod">
          <ac:chgData name="Mikami, Maho" userId="50612f1b-df2d-47bb-8fdd-7ddedc83fc7e" providerId="ADAL" clId="{5CBE12F2-F3C8-4DCE-AD77-5EBD7EED8DBF}" dt="2024-03-24T07:03:09.569" v="4694"/>
          <ac:cxnSpMkLst>
            <pc:docMk/>
            <pc:sldMk cId="4186158384" sldId="2147378644"/>
            <ac:cxnSpMk id="141" creationId="{E36D1FC0-9417-4EAF-72E2-DD1C495D94E7}"/>
          </ac:cxnSpMkLst>
        </pc:cxnChg>
        <pc:cxnChg chg="mod">
          <ac:chgData name="Mikami, Maho" userId="50612f1b-df2d-47bb-8fdd-7ddedc83fc7e" providerId="ADAL" clId="{5CBE12F2-F3C8-4DCE-AD77-5EBD7EED8DBF}" dt="2024-03-24T07:03:09.569" v="4694"/>
          <ac:cxnSpMkLst>
            <pc:docMk/>
            <pc:sldMk cId="4186158384" sldId="2147378644"/>
            <ac:cxnSpMk id="142" creationId="{FE2226C5-05E8-DD05-785A-D52DB7E62F62}"/>
          </ac:cxnSpMkLst>
        </pc:cxnChg>
        <pc:cxnChg chg="mod">
          <ac:chgData name="Mikami, Maho" userId="50612f1b-df2d-47bb-8fdd-7ddedc83fc7e" providerId="ADAL" clId="{5CBE12F2-F3C8-4DCE-AD77-5EBD7EED8DBF}" dt="2024-03-24T07:03:09.569" v="4694"/>
          <ac:cxnSpMkLst>
            <pc:docMk/>
            <pc:sldMk cId="4186158384" sldId="2147378644"/>
            <ac:cxnSpMk id="143" creationId="{B3F613E3-9B52-8BD2-080F-2E6A52DA3CF0}"/>
          </ac:cxnSpMkLst>
        </pc:cxnChg>
        <pc:cxnChg chg="mod">
          <ac:chgData name="Mikami, Maho" userId="50612f1b-df2d-47bb-8fdd-7ddedc83fc7e" providerId="ADAL" clId="{5CBE12F2-F3C8-4DCE-AD77-5EBD7EED8DBF}" dt="2024-03-24T07:03:09.569" v="4694"/>
          <ac:cxnSpMkLst>
            <pc:docMk/>
            <pc:sldMk cId="4186158384" sldId="2147378644"/>
            <ac:cxnSpMk id="144" creationId="{FA74C2B0-4294-7F23-24F4-572825D386D5}"/>
          </ac:cxnSpMkLst>
        </pc:cxnChg>
        <pc:cxnChg chg="mod">
          <ac:chgData name="Mikami, Maho" userId="50612f1b-df2d-47bb-8fdd-7ddedc83fc7e" providerId="ADAL" clId="{5CBE12F2-F3C8-4DCE-AD77-5EBD7EED8DBF}" dt="2024-03-24T07:03:09.569" v="4694"/>
          <ac:cxnSpMkLst>
            <pc:docMk/>
            <pc:sldMk cId="4186158384" sldId="2147378644"/>
            <ac:cxnSpMk id="145" creationId="{DA53EB03-E866-6F38-E9E4-B3C3919FCE03}"/>
          </ac:cxnSpMkLst>
        </pc:cxnChg>
        <pc:cxnChg chg="mod">
          <ac:chgData name="Mikami, Maho" userId="50612f1b-df2d-47bb-8fdd-7ddedc83fc7e" providerId="ADAL" clId="{5CBE12F2-F3C8-4DCE-AD77-5EBD7EED8DBF}" dt="2024-03-24T07:03:09.569" v="4694"/>
          <ac:cxnSpMkLst>
            <pc:docMk/>
            <pc:sldMk cId="4186158384" sldId="2147378644"/>
            <ac:cxnSpMk id="147" creationId="{05A1C710-A17E-58B7-E6B1-199253160D35}"/>
          </ac:cxnSpMkLst>
        </pc:cxnChg>
        <pc:cxnChg chg="mod">
          <ac:chgData name="Mikami, Maho" userId="50612f1b-df2d-47bb-8fdd-7ddedc83fc7e" providerId="ADAL" clId="{5CBE12F2-F3C8-4DCE-AD77-5EBD7EED8DBF}" dt="2024-03-24T07:03:09.569" v="4694"/>
          <ac:cxnSpMkLst>
            <pc:docMk/>
            <pc:sldMk cId="4186158384" sldId="2147378644"/>
            <ac:cxnSpMk id="148" creationId="{30A79981-44DD-387B-6BE5-88B04775E6A3}"/>
          </ac:cxnSpMkLst>
        </pc:cxnChg>
        <pc:cxnChg chg="mod">
          <ac:chgData name="Mikami, Maho" userId="50612f1b-df2d-47bb-8fdd-7ddedc83fc7e" providerId="ADAL" clId="{5CBE12F2-F3C8-4DCE-AD77-5EBD7EED8DBF}" dt="2024-03-24T07:03:09.569" v="4694"/>
          <ac:cxnSpMkLst>
            <pc:docMk/>
            <pc:sldMk cId="4186158384" sldId="2147378644"/>
            <ac:cxnSpMk id="151" creationId="{217152CE-F357-E97E-412C-4A622BA3A9A7}"/>
          </ac:cxnSpMkLst>
        </pc:cxnChg>
        <pc:cxnChg chg="mod">
          <ac:chgData name="Mikami, Maho" userId="50612f1b-df2d-47bb-8fdd-7ddedc83fc7e" providerId="ADAL" clId="{5CBE12F2-F3C8-4DCE-AD77-5EBD7EED8DBF}" dt="2024-03-24T07:03:09.569" v="4694"/>
          <ac:cxnSpMkLst>
            <pc:docMk/>
            <pc:sldMk cId="4186158384" sldId="2147378644"/>
            <ac:cxnSpMk id="152" creationId="{E25130E5-7B3A-ACDF-0C41-DE08CCFFD2AF}"/>
          </ac:cxnSpMkLst>
        </pc:cxnChg>
        <pc:cxnChg chg="mod">
          <ac:chgData name="Mikami, Maho" userId="50612f1b-df2d-47bb-8fdd-7ddedc83fc7e" providerId="ADAL" clId="{5CBE12F2-F3C8-4DCE-AD77-5EBD7EED8DBF}" dt="2024-03-24T07:03:09.569" v="4694"/>
          <ac:cxnSpMkLst>
            <pc:docMk/>
            <pc:sldMk cId="4186158384" sldId="2147378644"/>
            <ac:cxnSpMk id="158" creationId="{CAEB06BE-80FD-9F6B-4930-0EB6F2135BB7}"/>
          </ac:cxnSpMkLst>
        </pc:cxnChg>
        <pc:cxnChg chg="mod">
          <ac:chgData name="Mikami, Maho" userId="50612f1b-df2d-47bb-8fdd-7ddedc83fc7e" providerId="ADAL" clId="{5CBE12F2-F3C8-4DCE-AD77-5EBD7EED8DBF}" dt="2024-03-24T07:03:09.569" v="4694"/>
          <ac:cxnSpMkLst>
            <pc:docMk/>
            <pc:sldMk cId="4186158384" sldId="2147378644"/>
            <ac:cxnSpMk id="159" creationId="{50CFC198-50C6-4929-FE7D-21DCBBAF826D}"/>
          </ac:cxnSpMkLst>
        </pc:cxnChg>
        <pc:cxnChg chg="mod">
          <ac:chgData name="Mikami, Maho" userId="50612f1b-df2d-47bb-8fdd-7ddedc83fc7e" providerId="ADAL" clId="{5CBE12F2-F3C8-4DCE-AD77-5EBD7EED8DBF}" dt="2024-03-24T07:03:09.569" v="4694"/>
          <ac:cxnSpMkLst>
            <pc:docMk/>
            <pc:sldMk cId="4186158384" sldId="2147378644"/>
            <ac:cxnSpMk id="160" creationId="{3E07286B-5318-EBBB-0329-CD7823F69E7B}"/>
          </ac:cxnSpMkLst>
        </pc:cxnChg>
        <pc:cxnChg chg="mod">
          <ac:chgData name="Mikami, Maho" userId="50612f1b-df2d-47bb-8fdd-7ddedc83fc7e" providerId="ADAL" clId="{5CBE12F2-F3C8-4DCE-AD77-5EBD7EED8DBF}" dt="2024-03-24T07:03:09.569" v="4694"/>
          <ac:cxnSpMkLst>
            <pc:docMk/>
            <pc:sldMk cId="4186158384" sldId="2147378644"/>
            <ac:cxnSpMk id="161" creationId="{DD4BCE11-D490-FE81-519D-D5DE8F6E7AD5}"/>
          </ac:cxnSpMkLst>
        </pc:cxnChg>
        <pc:cxnChg chg="mod">
          <ac:chgData name="Mikami, Maho" userId="50612f1b-df2d-47bb-8fdd-7ddedc83fc7e" providerId="ADAL" clId="{5CBE12F2-F3C8-4DCE-AD77-5EBD7EED8DBF}" dt="2024-03-24T07:03:09.569" v="4694"/>
          <ac:cxnSpMkLst>
            <pc:docMk/>
            <pc:sldMk cId="4186158384" sldId="2147378644"/>
            <ac:cxnSpMk id="162" creationId="{92BDC4FD-9248-C777-843E-CD3CC3AD4549}"/>
          </ac:cxnSpMkLst>
        </pc:cxnChg>
        <pc:cxnChg chg="mod">
          <ac:chgData name="Mikami, Maho" userId="50612f1b-df2d-47bb-8fdd-7ddedc83fc7e" providerId="ADAL" clId="{5CBE12F2-F3C8-4DCE-AD77-5EBD7EED8DBF}" dt="2024-03-24T07:03:09.569" v="4694"/>
          <ac:cxnSpMkLst>
            <pc:docMk/>
            <pc:sldMk cId="4186158384" sldId="2147378644"/>
            <ac:cxnSpMk id="165" creationId="{AE7C1A0E-B193-C584-876E-12460FFA001B}"/>
          </ac:cxnSpMkLst>
        </pc:cxnChg>
        <pc:cxnChg chg="mod">
          <ac:chgData name="Mikami, Maho" userId="50612f1b-df2d-47bb-8fdd-7ddedc83fc7e" providerId="ADAL" clId="{5CBE12F2-F3C8-4DCE-AD77-5EBD7EED8DBF}" dt="2024-03-24T07:03:09.569" v="4694"/>
          <ac:cxnSpMkLst>
            <pc:docMk/>
            <pc:sldMk cId="4186158384" sldId="2147378644"/>
            <ac:cxnSpMk id="173" creationId="{B7ECF557-2F3B-2E52-0EFC-E4C7658827B2}"/>
          </ac:cxnSpMkLst>
        </pc:cxnChg>
      </pc:sldChg>
      <pc:sldChg chg="addSp delSp modSp mod">
        <pc:chgData name="Mikami, Maho" userId="50612f1b-df2d-47bb-8fdd-7ddedc83fc7e" providerId="ADAL" clId="{5CBE12F2-F3C8-4DCE-AD77-5EBD7EED8DBF}" dt="2024-03-24T07:07:27.928" v="4970" actId="20577"/>
        <pc:sldMkLst>
          <pc:docMk/>
          <pc:sldMk cId="2061620207" sldId="2147378645"/>
        </pc:sldMkLst>
        <pc:spChg chg="mod">
          <ac:chgData name="Mikami, Maho" userId="50612f1b-df2d-47bb-8fdd-7ddedc83fc7e" providerId="ADAL" clId="{5CBE12F2-F3C8-4DCE-AD77-5EBD7EED8DBF}" dt="2024-03-24T03:54:49.281" v="815" actId="20577"/>
          <ac:spMkLst>
            <pc:docMk/>
            <pc:sldMk cId="2061620207" sldId="2147378645"/>
            <ac:spMk id="2" creationId="{1C1AA4DE-85E5-437E-8ACE-411E6DF3710F}"/>
          </ac:spMkLst>
        </pc:spChg>
        <pc:spChg chg="mod">
          <ac:chgData name="Mikami, Maho" userId="50612f1b-df2d-47bb-8fdd-7ddedc83fc7e" providerId="ADAL" clId="{5CBE12F2-F3C8-4DCE-AD77-5EBD7EED8DBF}" dt="2024-03-24T03:54:32.079" v="737"/>
          <ac:spMkLst>
            <pc:docMk/>
            <pc:sldMk cId="2061620207" sldId="2147378645"/>
            <ac:spMk id="3" creationId="{A4EB7737-022C-9B62-1DB5-A6CCBA35ABE6}"/>
          </ac:spMkLst>
        </pc:spChg>
        <pc:spChg chg="mod">
          <ac:chgData name="Mikami, Maho" userId="50612f1b-df2d-47bb-8fdd-7ddedc83fc7e" providerId="ADAL" clId="{5CBE12F2-F3C8-4DCE-AD77-5EBD7EED8DBF}" dt="2024-03-24T07:04:28.841" v="4750" actId="948"/>
          <ac:spMkLst>
            <pc:docMk/>
            <pc:sldMk cId="2061620207" sldId="2147378645"/>
            <ac:spMk id="4" creationId="{E9E7DA87-C4F6-99F2-3840-1A895A4014C5}"/>
          </ac:spMkLst>
        </pc:spChg>
        <pc:spChg chg="del mod">
          <ac:chgData name="Mikami, Maho" userId="50612f1b-df2d-47bb-8fdd-7ddedc83fc7e" providerId="ADAL" clId="{5CBE12F2-F3C8-4DCE-AD77-5EBD7EED8DBF}" dt="2024-03-24T03:56:04.046" v="959" actId="478"/>
          <ac:spMkLst>
            <pc:docMk/>
            <pc:sldMk cId="2061620207" sldId="2147378645"/>
            <ac:spMk id="7" creationId="{8BB312B7-7ECB-4407-2E77-9D084C0D0C8D}"/>
          </ac:spMkLst>
        </pc:spChg>
        <pc:spChg chg="mod">
          <ac:chgData name="Mikami, Maho" userId="50612f1b-df2d-47bb-8fdd-7ddedc83fc7e" providerId="ADAL" clId="{5CBE12F2-F3C8-4DCE-AD77-5EBD7EED8DBF}" dt="2024-03-24T03:54:08.734" v="650" actId="553"/>
          <ac:spMkLst>
            <pc:docMk/>
            <pc:sldMk cId="2061620207" sldId="2147378645"/>
            <ac:spMk id="9" creationId="{9150E280-E928-52E2-4B63-0B75D186581B}"/>
          </ac:spMkLst>
        </pc:spChg>
        <pc:spChg chg="mod">
          <ac:chgData name="Mikami, Maho" userId="50612f1b-df2d-47bb-8fdd-7ddedc83fc7e" providerId="ADAL" clId="{5CBE12F2-F3C8-4DCE-AD77-5EBD7EED8DBF}" dt="2024-03-24T03:54:08.734" v="650" actId="553"/>
          <ac:spMkLst>
            <pc:docMk/>
            <pc:sldMk cId="2061620207" sldId="2147378645"/>
            <ac:spMk id="11" creationId="{38BD8558-5375-2020-7867-EE5542490BA7}"/>
          </ac:spMkLst>
        </pc:spChg>
        <pc:spChg chg="add mod">
          <ac:chgData name="Mikami, Maho" userId="50612f1b-df2d-47bb-8fdd-7ddedc83fc7e" providerId="ADAL" clId="{5CBE12F2-F3C8-4DCE-AD77-5EBD7EED8DBF}" dt="2024-03-24T03:54:20.019" v="690" actId="20577"/>
          <ac:spMkLst>
            <pc:docMk/>
            <pc:sldMk cId="2061620207" sldId="2147378645"/>
            <ac:spMk id="13" creationId="{A92A3A09-3BCC-92D1-ECDC-F93E23DAC4C6}"/>
          </ac:spMkLst>
        </pc:spChg>
        <pc:spChg chg="add mod">
          <ac:chgData name="Mikami, Maho" userId="50612f1b-df2d-47bb-8fdd-7ddedc83fc7e" providerId="ADAL" clId="{5CBE12F2-F3C8-4DCE-AD77-5EBD7EED8DBF}" dt="2024-03-24T03:54:25.106" v="703" actId="20577"/>
          <ac:spMkLst>
            <pc:docMk/>
            <pc:sldMk cId="2061620207" sldId="2147378645"/>
            <ac:spMk id="14" creationId="{F7F3E2D2-67C9-3151-1D14-2FB373DF5AFE}"/>
          </ac:spMkLst>
        </pc:spChg>
        <pc:spChg chg="add mod">
          <ac:chgData name="Mikami, Maho" userId="50612f1b-df2d-47bb-8fdd-7ddedc83fc7e" providerId="ADAL" clId="{5CBE12F2-F3C8-4DCE-AD77-5EBD7EED8DBF}" dt="2024-03-24T07:07:27.928" v="4970" actId="20577"/>
          <ac:spMkLst>
            <pc:docMk/>
            <pc:sldMk cId="2061620207" sldId="2147378645"/>
            <ac:spMk id="16" creationId="{9DE690ED-9E49-0925-CE48-EAF06D6B1920}"/>
          </ac:spMkLst>
        </pc:spChg>
        <pc:spChg chg="add mod">
          <ac:chgData name="Mikami, Maho" userId="50612f1b-df2d-47bb-8fdd-7ddedc83fc7e" providerId="ADAL" clId="{5CBE12F2-F3C8-4DCE-AD77-5EBD7EED8DBF}" dt="2024-03-24T03:56:07.882" v="960" actId="20577"/>
          <ac:spMkLst>
            <pc:docMk/>
            <pc:sldMk cId="2061620207" sldId="2147378645"/>
            <ac:spMk id="17" creationId="{61AC53C0-2671-6B8D-B098-1B06ADFC149A}"/>
          </ac:spMkLst>
        </pc:spChg>
        <pc:spChg chg="add del mod">
          <ac:chgData name="Mikami, Maho" userId="50612f1b-df2d-47bb-8fdd-7ddedc83fc7e" providerId="ADAL" clId="{5CBE12F2-F3C8-4DCE-AD77-5EBD7EED8DBF}" dt="2024-03-24T07:04:03.375" v="4702" actId="478"/>
          <ac:spMkLst>
            <pc:docMk/>
            <pc:sldMk cId="2061620207" sldId="2147378645"/>
            <ac:spMk id="18" creationId="{2066A584-E0F6-5844-1677-31E9CE7AA514}"/>
          </ac:spMkLst>
        </pc:spChg>
        <pc:grpChg chg="add mod">
          <ac:chgData name="Mikami, Maho" userId="50612f1b-df2d-47bb-8fdd-7ddedc83fc7e" providerId="ADAL" clId="{5CBE12F2-F3C8-4DCE-AD77-5EBD7EED8DBF}" dt="2024-03-24T03:54:08.734" v="650" actId="553"/>
          <ac:grpSpMkLst>
            <pc:docMk/>
            <pc:sldMk cId="2061620207" sldId="2147378645"/>
            <ac:grpSpMk id="5" creationId="{85705A4D-8D39-1EC8-FD76-0A4E1AC80EDF}"/>
          </ac:grpSpMkLst>
        </pc:grpChg>
        <pc:grpChg chg="mod">
          <ac:chgData name="Mikami, Maho" userId="50612f1b-df2d-47bb-8fdd-7ddedc83fc7e" providerId="ADAL" clId="{5CBE12F2-F3C8-4DCE-AD77-5EBD7EED8DBF}" dt="2024-03-24T03:54:08.734" v="650" actId="553"/>
          <ac:grpSpMkLst>
            <pc:docMk/>
            <pc:sldMk cId="2061620207" sldId="2147378645"/>
            <ac:grpSpMk id="6" creationId="{A7028E05-DFDA-ED43-8BF2-6A4F437D7CD2}"/>
          </ac:grpSpMkLst>
        </pc:grpChg>
        <pc:grpChg chg="mod">
          <ac:chgData name="Mikami, Maho" userId="50612f1b-df2d-47bb-8fdd-7ddedc83fc7e" providerId="ADAL" clId="{5CBE12F2-F3C8-4DCE-AD77-5EBD7EED8DBF}" dt="2024-03-24T03:54:08.734" v="650" actId="553"/>
          <ac:grpSpMkLst>
            <pc:docMk/>
            <pc:sldMk cId="2061620207" sldId="2147378645"/>
            <ac:grpSpMk id="8" creationId="{92D62AEA-4990-51FE-5773-177F4B1D0B34}"/>
          </ac:grpSpMkLst>
        </pc:grpChg>
        <pc:graphicFrameChg chg="add mod ord modVis replST">
          <ac:chgData name="Mikami, Maho" userId="50612f1b-df2d-47bb-8fdd-7ddedc83fc7e" providerId="ADAL" clId="{5CBE12F2-F3C8-4DCE-AD77-5EBD7EED8DBF}" dt="2024-03-24T07:04:28.848" v="4754"/>
          <ac:graphicFrameMkLst>
            <pc:docMk/>
            <pc:sldMk cId="2061620207" sldId="2147378645"/>
            <ac:graphicFrameMk id="15" creationId="{5AC2F319-4482-EB49-9D9F-36AA76046970}"/>
          </ac:graphicFrameMkLst>
        </pc:graphicFrameChg>
        <pc:cxnChg chg="mod">
          <ac:chgData name="Mikami, Maho" userId="50612f1b-df2d-47bb-8fdd-7ddedc83fc7e" providerId="ADAL" clId="{5CBE12F2-F3C8-4DCE-AD77-5EBD7EED8DBF}" dt="2024-03-24T03:54:08.734" v="650" actId="553"/>
          <ac:cxnSpMkLst>
            <pc:docMk/>
            <pc:sldMk cId="2061620207" sldId="2147378645"/>
            <ac:cxnSpMk id="10" creationId="{F3002201-FED7-B609-0EFE-B0A723677E49}"/>
          </ac:cxnSpMkLst>
        </pc:cxnChg>
        <pc:cxnChg chg="mod">
          <ac:chgData name="Mikami, Maho" userId="50612f1b-df2d-47bb-8fdd-7ddedc83fc7e" providerId="ADAL" clId="{5CBE12F2-F3C8-4DCE-AD77-5EBD7EED8DBF}" dt="2024-03-24T03:54:08.734" v="650" actId="553"/>
          <ac:cxnSpMkLst>
            <pc:docMk/>
            <pc:sldMk cId="2061620207" sldId="2147378645"/>
            <ac:cxnSpMk id="12" creationId="{A91ACEAA-4AA1-E7B9-26AD-A7762131885B}"/>
          </ac:cxnSpMkLst>
        </pc:cxnChg>
      </pc:sldChg>
      <pc:sldChg chg="addSp delSp modSp del mod">
        <pc:chgData name="Mikami, Maho" userId="50612f1b-df2d-47bb-8fdd-7ddedc83fc7e" providerId="ADAL" clId="{5CBE12F2-F3C8-4DCE-AD77-5EBD7EED8DBF}" dt="2024-03-24T06:10:18.704" v="3137" actId="47"/>
        <pc:sldMkLst>
          <pc:docMk/>
          <pc:sldMk cId="3796097863" sldId="2147378646"/>
        </pc:sldMkLst>
        <pc:spChg chg="mod">
          <ac:chgData name="Mikami, Maho" userId="50612f1b-df2d-47bb-8fdd-7ddedc83fc7e" providerId="ADAL" clId="{5CBE12F2-F3C8-4DCE-AD77-5EBD7EED8DBF}" dt="2024-03-24T03:30:14.869" v="296" actId="14100"/>
          <ac:spMkLst>
            <pc:docMk/>
            <pc:sldMk cId="3796097863" sldId="2147378646"/>
            <ac:spMk id="3" creationId="{ECBB1B18-6E48-A741-52DD-AE2FF2CF5F79}"/>
          </ac:spMkLst>
        </pc:spChg>
        <pc:spChg chg="add mod topLvl">
          <ac:chgData name="Mikami, Maho" userId="50612f1b-df2d-47bb-8fdd-7ddedc83fc7e" providerId="ADAL" clId="{5CBE12F2-F3C8-4DCE-AD77-5EBD7EED8DBF}" dt="2024-03-24T03:50:12.734" v="575" actId="14100"/>
          <ac:spMkLst>
            <pc:docMk/>
            <pc:sldMk cId="3796097863" sldId="2147378646"/>
            <ac:spMk id="4" creationId="{594626DE-097B-2B8D-D986-53F295198D7C}"/>
          </ac:spMkLst>
        </pc:spChg>
        <pc:spChg chg="add mod topLvl">
          <ac:chgData name="Mikami, Maho" userId="50612f1b-df2d-47bb-8fdd-7ddedc83fc7e" providerId="ADAL" clId="{5CBE12F2-F3C8-4DCE-AD77-5EBD7EED8DBF}" dt="2024-03-24T03:50:05.485" v="573" actId="164"/>
          <ac:spMkLst>
            <pc:docMk/>
            <pc:sldMk cId="3796097863" sldId="2147378646"/>
            <ac:spMk id="7" creationId="{DAE7232C-13EE-7DD3-6DB8-034E58A856F2}"/>
          </ac:spMkLst>
        </pc:spChg>
        <pc:spChg chg="add mod topLvl">
          <ac:chgData name="Mikami, Maho" userId="50612f1b-df2d-47bb-8fdd-7ddedc83fc7e" providerId="ADAL" clId="{5CBE12F2-F3C8-4DCE-AD77-5EBD7EED8DBF}" dt="2024-03-24T03:50:05.485" v="573" actId="164"/>
          <ac:spMkLst>
            <pc:docMk/>
            <pc:sldMk cId="3796097863" sldId="2147378646"/>
            <ac:spMk id="8" creationId="{92A853E6-7034-5EEF-C0BC-1567877AFDDD}"/>
          </ac:spMkLst>
        </pc:spChg>
        <pc:spChg chg="add mod topLvl">
          <ac:chgData name="Mikami, Maho" userId="50612f1b-df2d-47bb-8fdd-7ddedc83fc7e" providerId="ADAL" clId="{5CBE12F2-F3C8-4DCE-AD77-5EBD7EED8DBF}" dt="2024-03-24T03:50:12.734" v="575" actId="14100"/>
          <ac:spMkLst>
            <pc:docMk/>
            <pc:sldMk cId="3796097863" sldId="2147378646"/>
            <ac:spMk id="10" creationId="{3494E9A5-5608-3A15-FD86-A5092D3F65CB}"/>
          </ac:spMkLst>
        </pc:spChg>
        <pc:spChg chg="add mod topLvl">
          <ac:chgData name="Mikami, Maho" userId="50612f1b-df2d-47bb-8fdd-7ddedc83fc7e" providerId="ADAL" clId="{5CBE12F2-F3C8-4DCE-AD77-5EBD7EED8DBF}" dt="2024-03-24T03:50:05.485" v="573" actId="164"/>
          <ac:spMkLst>
            <pc:docMk/>
            <pc:sldMk cId="3796097863" sldId="2147378646"/>
            <ac:spMk id="11" creationId="{D925165B-55C1-9058-A124-735338D2DDB2}"/>
          </ac:spMkLst>
        </pc:spChg>
        <pc:spChg chg="add mod topLvl">
          <ac:chgData name="Mikami, Maho" userId="50612f1b-df2d-47bb-8fdd-7ddedc83fc7e" providerId="ADAL" clId="{5CBE12F2-F3C8-4DCE-AD77-5EBD7EED8DBF}" dt="2024-03-24T03:50:05.485" v="573" actId="164"/>
          <ac:spMkLst>
            <pc:docMk/>
            <pc:sldMk cId="3796097863" sldId="2147378646"/>
            <ac:spMk id="12" creationId="{09947FA2-7373-F0B3-7BF6-0420CC8F699B}"/>
          </ac:spMkLst>
        </pc:spChg>
        <pc:spChg chg="add mod topLvl">
          <ac:chgData name="Mikami, Maho" userId="50612f1b-df2d-47bb-8fdd-7ddedc83fc7e" providerId="ADAL" clId="{5CBE12F2-F3C8-4DCE-AD77-5EBD7EED8DBF}" dt="2024-03-24T03:50:12.734" v="575" actId="14100"/>
          <ac:spMkLst>
            <pc:docMk/>
            <pc:sldMk cId="3796097863" sldId="2147378646"/>
            <ac:spMk id="13" creationId="{1008BA8B-C24C-50EA-CAE3-BFD5F74C6359}"/>
          </ac:spMkLst>
        </pc:spChg>
        <pc:spChg chg="add mod topLvl">
          <ac:chgData name="Mikami, Maho" userId="50612f1b-df2d-47bb-8fdd-7ddedc83fc7e" providerId="ADAL" clId="{5CBE12F2-F3C8-4DCE-AD77-5EBD7EED8DBF}" dt="2024-03-24T03:50:12.734" v="575" actId="14100"/>
          <ac:spMkLst>
            <pc:docMk/>
            <pc:sldMk cId="3796097863" sldId="2147378646"/>
            <ac:spMk id="14" creationId="{07161296-BB3A-ED46-9CBB-D75FA6066CEF}"/>
          </ac:spMkLst>
        </pc:spChg>
        <pc:spChg chg="add mod topLvl">
          <ac:chgData name="Mikami, Maho" userId="50612f1b-df2d-47bb-8fdd-7ddedc83fc7e" providerId="ADAL" clId="{5CBE12F2-F3C8-4DCE-AD77-5EBD7EED8DBF}" dt="2024-03-24T03:50:12.734" v="575" actId="14100"/>
          <ac:spMkLst>
            <pc:docMk/>
            <pc:sldMk cId="3796097863" sldId="2147378646"/>
            <ac:spMk id="15" creationId="{6D2927F4-EBA5-D461-D520-73C5151257F0}"/>
          </ac:spMkLst>
        </pc:spChg>
        <pc:spChg chg="add mod topLvl">
          <ac:chgData name="Mikami, Maho" userId="50612f1b-df2d-47bb-8fdd-7ddedc83fc7e" providerId="ADAL" clId="{5CBE12F2-F3C8-4DCE-AD77-5EBD7EED8DBF}" dt="2024-03-24T03:50:12.734" v="575" actId="14100"/>
          <ac:spMkLst>
            <pc:docMk/>
            <pc:sldMk cId="3796097863" sldId="2147378646"/>
            <ac:spMk id="16" creationId="{83AA740C-FC09-CC54-D91F-82014C46C4A2}"/>
          </ac:spMkLst>
        </pc:spChg>
        <pc:spChg chg="add mod topLvl">
          <ac:chgData name="Mikami, Maho" userId="50612f1b-df2d-47bb-8fdd-7ddedc83fc7e" providerId="ADAL" clId="{5CBE12F2-F3C8-4DCE-AD77-5EBD7EED8DBF}" dt="2024-03-24T03:50:05.485" v="573" actId="164"/>
          <ac:spMkLst>
            <pc:docMk/>
            <pc:sldMk cId="3796097863" sldId="2147378646"/>
            <ac:spMk id="20" creationId="{F87F34E9-DA59-7FBD-CF4B-F228741F556F}"/>
          </ac:spMkLst>
        </pc:spChg>
        <pc:spChg chg="add mod topLvl">
          <ac:chgData name="Mikami, Maho" userId="50612f1b-df2d-47bb-8fdd-7ddedc83fc7e" providerId="ADAL" clId="{5CBE12F2-F3C8-4DCE-AD77-5EBD7EED8DBF}" dt="2024-03-24T03:50:05.485" v="573" actId="164"/>
          <ac:spMkLst>
            <pc:docMk/>
            <pc:sldMk cId="3796097863" sldId="2147378646"/>
            <ac:spMk id="21" creationId="{2BFBA36B-7938-2FA0-4087-492AED3019B4}"/>
          </ac:spMkLst>
        </pc:spChg>
        <pc:spChg chg="add mod topLvl">
          <ac:chgData name="Mikami, Maho" userId="50612f1b-df2d-47bb-8fdd-7ddedc83fc7e" providerId="ADAL" clId="{5CBE12F2-F3C8-4DCE-AD77-5EBD7EED8DBF}" dt="2024-03-24T03:50:05.485" v="573" actId="164"/>
          <ac:spMkLst>
            <pc:docMk/>
            <pc:sldMk cId="3796097863" sldId="2147378646"/>
            <ac:spMk id="22" creationId="{641919CE-8D99-1DF7-7827-547C055A4CA9}"/>
          </ac:spMkLst>
        </pc:spChg>
        <pc:spChg chg="add mod topLvl">
          <ac:chgData name="Mikami, Maho" userId="50612f1b-df2d-47bb-8fdd-7ddedc83fc7e" providerId="ADAL" clId="{5CBE12F2-F3C8-4DCE-AD77-5EBD7EED8DBF}" dt="2024-03-24T03:50:05.485" v="573" actId="164"/>
          <ac:spMkLst>
            <pc:docMk/>
            <pc:sldMk cId="3796097863" sldId="2147378646"/>
            <ac:spMk id="23" creationId="{106FD82B-0BE2-BDD1-9984-AE1ECBB123F9}"/>
          </ac:spMkLst>
        </pc:spChg>
        <pc:spChg chg="add mod topLvl">
          <ac:chgData name="Mikami, Maho" userId="50612f1b-df2d-47bb-8fdd-7ddedc83fc7e" providerId="ADAL" clId="{5CBE12F2-F3C8-4DCE-AD77-5EBD7EED8DBF}" dt="2024-03-24T03:50:05.485" v="573" actId="164"/>
          <ac:spMkLst>
            <pc:docMk/>
            <pc:sldMk cId="3796097863" sldId="2147378646"/>
            <ac:spMk id="25" creationId="{ACE4F0CA-0694-F911-5AFE-A7947667132B}"/>
          </ac:spMkLst>
        </pc:spChg>
        <pc:spChg chg="add mod topLvl">
          <ac:chgData name="Mikami, Maho" userId="50612f1b-df2d-47bb-8fdd-7ddedc83fc7e" providerId="ADAL" clId="{5CBE12F2-F3C8-4DCE-AD77-5EBD7EED8DBF}" dt="2024-03-24T03:50:05.485" v="573" actId="164"/>
          <ac:spMkLst>
            <pc:docMk/>
            <pc:sldMk cId="3796097863" sldId="2147378646"/>
            <ac:spMk id="26" creationId="{FC7BD0C8-51DF-147F-8DDA-DCC53754185F}"/>
          </ac:spMkLst>
        </pc:spChg>
        <pc:spChg chg="add mod topLvl">
          <ac:chgData name="Mikami, Maho" userId="50612f1b-df2d-47bb-8fdd-7ddedc83fc7e" providerId="ADAL" clId="{5CBE12F2-F3C8-4DCE-AD77-5EBD7EED8DBF}" dt="2024-03-24T03:50:05.485" v="573" actId="164"/>
          <ac:spMkLst>
            <pc:docMk/>
            <pc:sldMk cId="3796097863" sldId="2147378646"/>
            <ac:spMk id="27" creationId="{C6186138-1F5F-A28A-1B21-046711B26490}"/>
          </ac:spMkLst>
        </pc:spChg>
        <pc:spChg chg="add mod topLvl">
          <ac:chgData name="Mikami, Maho" userId="50612f1b-df2d-47bb-8fdd-7ddedc83fc7e" providerId="ADAL" clId="{5CBE12F2-F3C8-4DCE-AD77-5EBD7EED8DBF}" dt="2024-03-24T03:50:05.485" v="573" actId="164"/>
          <ac:spMkLst>
            <pc:docMk/>
            <pc:sldMk cId="3796097863" sldId="2147378646"/>
            <ac:spMk id="28" creationId="{024C4B06-6F45-A810-E104-A761924E3297}"/>
          </ac:spMkLst>
        </pc:spChg>
        <pc:spChg chg="add del mod">
          <ac:chgData name="Mikami, Maho" userId="50612f1b-df2d-47bb-8fdd-7ddedc83fc7e" providerId="ADAL" clId="{5CBE12F2-F3C8-4DCE-AD77-5EBD7EED8DBF}" dt="2024-03-24T03:49:08.352" v="453" actId="478"/>
          <ac:spMkLst>
            <pc:docMk/>
            <pc:sldMk cId="3796097863" sldId="2147378646"/>
            <ac:spMk id="39" creationId="{BE276D39-DCD4-55FD-F9E5-53CD9AC9F939}"/>
          </ac:spMkLst>
        </pc:spChg>
        <pc:spChg chg="add del mod">
          <ac:chgData name="Mikami, Maho" userId="50612f1b-df2d-47bb-8fdd-7ddedc83fc7e" providerId="ADAL" clId="{5CBE12F2-F3C8-4DCE-AD77-5EBD7EED8DBF}" dt="2024-03-24T03:49:08.352" v="453" actId="478"/>
          <ac:spMkLst>
            <pc:docMk/>
            <pc:sldMk cId="3796097863" sldId="2147378646"/>
            <ac:spMk id="41" creationId="{A167B3C7-57BF-15CD-315E-9A3C66F57C4A}"/>
          </ac:spMkLst>
        </pc:spChg>
        <pc:grpChg chg="add del mod topLvl">
          <ac:chgData name="Mikami, Maho" userId="50612f1b-df2d-47bb-8fdd-7ddedc83fc7e" providerId="ADAL" clId="{5CBE12F2-F3C8-4DCE-AD77-5EBD7EED8DBF}" dt="2024-03-24T03:26:16.725" v="131" actId="165"/>
          <ac:grpSpMkLst>
            <pc:docMk/>
            <pc:sldMk cId="3796097863" sldId="2147378646"/>
            <ac:grpSpMk id="17" creationId="{22C4ACB0-F77A-11BB-BD84-D1CF0E1DD0FB}"/>
          </ac:grpSpMkLst>
        </pc:grpChg>
        <pc:grpChg chg="add del mod">
          <ac:chgData name="Mikami, Maho" userId="50612f1b-df2d-47bb-8fdd-7ddedc83fc7e" providerId="ADAL" clId="{5CBE12F2-F3C8-4DCE-AD77-5EBD7EED8DBF}" dt="2024-03-24T03:26:14.222" v="130" actId="165"/>
          <ac:grpSpMkLst>
            <pc:docMk/>
            <pc:sldMk cId="3796097863" sldId="2147378646"/>
            <ac:grpSpMk id="18" creationId="{337AC4C3-21A2-339A-56DE-A9135085B3D4}"/>
          </ac:grpSpMkLst>
        </pc:grpChg>
        <pc:grpChg chg="add del mod">
          <ac:chgData name="Mikami, Maho" userId="50612f1b-df2d-47bb-8fdd-7ddedc83fc7e" providerId="ADAL" clId="{5CBE12F2-F3C8-4DCE-AD77-5EBD7EED8DBF}" dt="2024-03-24T03:26:35.600" v="154" actId="165"/>
          <ac:grpSpMkLst>
            <pc:docMk/>
            <pc:sldMk cId="3796097863" sldId="2147378646"/>
            <ac:grpSpMk id="19" creationId="{2448B5B8-9CD6-B487-D7CF-B0019759BBBF}"/>
          </ac:grpSpMkLst>
        </pc:grpChg>
        <pc:grpChg chg="add del mod">
          <ac:chgData name="Mikami, Maho" userId="50612f1b-df2d-47bb-8fdd-7ddedc83fc7e" providerId="ADAL" clId="{5CBE12F2-F3C8-4DCE-AD77-5EBD7EED8DBF}" dt="2024-03-24T03:27:44.682" v="192" actId="165"/>
          <ac:grpSpMkLst>
            <pc:docMk/>
            <pc:sldMk cId="3796097863" sldId="2147378646"/>
            <ac:grpSpMk id="24" creationId="{ECC7C014-4248-8009-D320-A8CD6628336E}"/>
          </ac:grpSpMkLst>
        </pc:grpChg>
        <pc:grpChg chg="add del mod">
          <ac:chgData name="Mikami, Maho" userId="50612f1b-df2d-47bb-8fdd-7ddedc83fc7e" providerId="ADAL" clId="{5CBE12F2-F3C8-4DCE-AD77-5EBD7EED8DBF}" dt="2024-03-24T03:27:44.682" v="192" actId="165"/>
          <ac:grpSpMkLst>
            <pc:docMk/>
            <pc:sldMk cId="3796097863" sldId="2147378646"/>
            <ac:grpSpMk id="29" creationId="{78BF23A2-29B0-B625-CF9F-D81DEA8C09EB}"/>
          </ac:grpSpMkLst>
        </pc:grpChg>
        <pc:grpChg chg="add del mod">
          <ac:chgData name="Mikami, Maho" userId="50612f1b-df2d-47bb-8fdd-7ddedc83fc7e" providerId="ADAL" clId="{5CBE12F2-F3C8-4DCE-AD77-5EBD7EED8DBF}" dt="2024-03-24T03:27:44.682" v="192" actId="165"/>
          <ac:grpSpMkLst>
            <pc:docMk/>
            <pc:sldMk cId="3796097863" sldId="2147378646"/>
            <ac:grpSpMk id="30" creationId="{18138821-0317-B037-A88D-3A212E127133}"/>
          </ac:grpSpMkLst>
        </pc:grpChg>
        <pc:grpChg chg="add del mod">
          <ac:chgData name="Mikami, Maho" userId="50612f1b-df2d-47bb-8fdd-7ddedc83fc7e" providerId="ADAL" clId="{5CBE12F2-F3C8-4DCE-AD77-5EBD7EED8DBF}" dt="2024-03-24T03:28:48.489" v="258" actId="165"/>
          <ac:grpSpMkLst>
            <pc:docMk/>
            <pc:sldMk cId="3796097863" sldId="2147378646"/>
            <ac:grpSpMk id="31" creationId="{564F93FD-4B00-E701-D395-584FE7188AEF}"/>
          </ac:grpSpMkLst>
        </pc:grpChg>
        <pc:grpChg chg="add mod topLvl">
          <ac:chgData name="Mikami, Maho" userId="50612f1b-df2d-47bb-8fdd-7ddedc83fc7e" providerId="ADAL" clId="{5CBE12F2-F3C8-4DCE-AD77-5EBD7EED8DBF}" dt="2024-03-24T03:49:52.346" v="560" actId="165"/>
          <ac:grpSpMkLst>
            <pc:docMk/>
            <pc:sldMk cId="3796097863" sldId="2147378646"/>
            <ac:grpSpMk id="36" creationId="{1C5AC786-5D1A-A26D-AA38-2486BE7BB0CC}"/>
          </ac:grpSpMkLst>
        </pc:grpChg>
        <pc:grpChg chg="add mod">
          <ac:chgData name="Mikami, Maho" userId="50612f1b-df2d-47bb-8fdd-7ddedc83fc7e" providerId="ADAL" clId="{5CBE12F2-F3C8-4DCE-AD77-5EBD7EED8DBF}" dt="2024-03-24T03:43:08.416" v="372" actId="164"/>
          <ac:grpSpMkLst>
            <pc:docMk/>
            <pc:sldMk cId="3796097863" sldId="2147378646"/>
            <ac:grpSpMk id="37" creationId="{7DB234BF-5C2E-33D2-831E-F86B1B9CCC60}"/>
          </ac:grpSpMkLst>
        </pc:grpChg>
        <pc:grpChg chg="add del mod">
          <ac:chgData name="Mikami, Maho" userId="50612f1b-df2d-47bb-8fdd-7ddedc83fc7e" providerId="ADAL" clId="{5CBE12F2-F3C8-4DCE-AD77-5EBD7EED8DBF}" dt="2024-03-24T03:44:44.854" v="382" actId="165"/>
          <ac:grpSpMkLst>
            <pc:docMk/>
            <pc:sldMk cId="3796097863" sldId="2147378646"/>
            <ac:grpSpMk id="38" creationId="{81E8D335-C51F-6192-0B6E-98BF5F90F334}"/>
          </ac:grpSpMkLst>
        </pc:grpChg>
        <pc:grpChg chg="add del mod">
          <ac:chgData name="Mikami, Maho" userId="50612f1b-df2d-47bb-8fdd-7ddedc83fc7e" providerId="ADAL" clId="{5CBE12F2-F3C8-4DCE-AD77-5EBD7EED8DBF}" dt="2024-03-24T03:49:52.346" v="560" actId="165"/>
          <ac:grpSpMkLst>
            <pc:docMk/>
            <pc:sldMk cId="3796097863" sldId="2147378646"/>
            <ac:grpSpMk id="40" creationId="{0A72E091-6ABC-F415-863F-85350F31A97E}"/>
          </ac:grpSpMkLst>
        </pc:grpChg>
        <pc:grpChg chg="add mod">
          <ac:chgData name="Mikami, Maho" userId="50612f1b-df2d-47bb-8fdd-7ddedc83fc7e" providerId="ADAL" clId="{5CBE12F2-F3C8-4DCE-AD77-5EBD7EED8DBF}" dt="2024-03-24T03:50:07.026" v="574" actId="14100"/>
          <ac:grpSpMkLst>
            <pc:docMk/>
            <pc:sldMk cId="3796097863" sldId="2147378646"/>
            <ac:grpSpMk id="42" creationId="{648F8DF0-2D0F-422A-11C7-C19983C8861A}"/>
          </ac:grpSpMkLst>
        </pc:grpChg>
        <pc:cxnChg chg="add mod">
          <ac:chgData name="Mikami, Maho" userId="50612f1b-df2d-47bb-8fdd-7ddedc83fc7e" providerId="ADAL" clId="{5CBE12F2-F3C8-4DCE-AD77-5EBD7EED8DBF}" dt="2024-03-24T03:49:52.346" v="560" actId="165"/>
          <ac:cxnSpMkLst>
            <pc:docMk/>
            <pc:sldMk cId="3796097863" sldId="2147378646"/>
            <ac:cxnSpMk id="32" creationId="{DAC800B1-1C02-D2EF-4C67-A830FEAF831F}"/>
          </ac:cxnSpMkLst>
        </pc:cxnChg>
        <pc:cxnChg chg="add mod">
          <ac:chgData name="Mikami, Maho" userId="50612f1b-df2d-47bb-8fdd-7ddedc83fc7e" providerId="ADAL" clId="{5CBE12F2-F3C8-4DCE-AD77-5EBD7EED8DBF}" dt="2024-03-24T03:49:52.346" v="560" actId="165"/>
          <ac:cxnSpMkLst>
            <pc:docMk/>
            <pc:sldMk cId="3796097863" sldId="2147378646"/>
            <ac:cxnSpMk id="33" creationId="{2140C6BC-6D55-2DF8-4D25-AF66678F5567}"/>
          </ac:cxnSpMkLst>
        </pc:cxnChg>
        <pc:cxnChg chg="add mod">
          <ac:chgData name="Mikami, Maho" userId="50612f1b-df2d-47bb-8fdd-7ddedc83fc7e" providerId="ADAL" clId="{5CBE12F2-F3C8-4DCE-AD77-5EBD7EED8DBF}" dt="2024-03-24T03:49:52.346" v="560" actId="165"/>
          <ac:cxnSpMkLst>
            <pc:docMk/>
            <pc:sldMk cId="3796097863" sldId="2147378646"/>
            <ac:cxnSpMk id="34" creationId="{D5079E88-C5ED-3A1D-B37D-59731E128665}"/>
          </ac:cxnSpMkLst>
        </pc:cxnChg>
        <pc:cxnChg chg="add mod">
          <ac:chgData name="Mikami, Maho" userId="50612f1b-df2d-47bb-8fdd-7ddedc83fc7e" providerId="ADAL" clId="{5CBE12F2-F3C8-4DCE-AD77-5EBD7EED8DBF}" dt="2024-03-24T03:49:52.346" v="560" actId="165"/>
          <ac:cxnSpMkLst>
            <pc:docMk/>
            <pc:sldMk cId="3796097863" sldId="2147378646"/>
            <ac:cxnSpMk id="35" creationId="{731BB6B3-E039-7DC1-5DCC-70F2B5646099}"/>
          </ac:cxnSpMkLst>
        </pc:cxnChg>
      </pc:sldChg>
      <pc:sldChg chg="add del">
        <pc:chgData name="Mikami, Maho" userId="50612f1b-df2d-47bb-8fdd-7ddedc83fc7e" providerId="ADAL" clId="{5CBE12F2-F3C8-4DCE-AD77-5EBD7EED8DBF}" dt="2024-03-24T04:43:01.333" v="2231" actId="2696"/>
        <pc:sldMkLst>
          <pc:docMk/>
          <pc:sldMk cId="391542801" sldId="2147378647"/>
        </pc:sldMkLst>
      </pc:sldChg>
      <pc:sldChg chg="del">
        <pc:chgData name="Mikami, Maho" userId="50612f1b-df2d-47bb-8fdd-7ddedc83fc7e" providerId="ADAL" clId="{5CBE12F2-F3C8-4DCE-AD77-5EBD7EED8DBF}" dt="2024-03-24T04:42:49.755" v="2229" actId="2696"/>
        <pc:sldMkLst>
          <pc:docMk/>
          <pc:sldMk cId="873808501" sldId="2147378647"/>
        </pc:sldMkLst>
      </pc:sldChg>
      <pc:sldChg chg="addSp delSp modSp add mod">
        <pc:chgData name="Mikami, Maho" userId="50612f1b-df2d-47bb-8fdd-7ddedc83fc7e" providerId="ADAL" clId="{5CBE12F2-F3C8-4DCE-AD77-5EBD7EED8DBF}" dt="2024-03-24T07:31:38.608" v="6783"/>
        <pc:sldMkLst>
          <pc:docMk/>
          <pc:sldMk cId="2529991948" sldId="2147378647"/>
        </pc:sldMkLst>
        <pc:spChg chg="add del mod">
          <ac:chgData name="Mikami, Maho" userId="50612f1b-df2d-47bb-8fdd-7ddedc83fc7e" providerId="ADAL" clId="{5CBE12F2-F3C8-4DCE-AD77-5EBD7EED8DBF}" dt="2024-03-24T06:31:23.190" v="4469" actId="478"/>
          <ac:spMkLst>
            <pc:docMk/>
            <pc:sldMk cId="2529991948" sldId="2147378647"/>
            <ac:spMk id="2" creationId="{7FE1A601-E3B8-3EE3-A219-54B9F3F328EA}"/>
          </ac:spMkLst>
        </pc:spChg>
        <pc:spChg chg="add mod">
          <ac:chgData name="Mikami, Maho" userId="50612f1b-df2d-47bb-8fdd-7ddedc83fc7e" providerId="ADAL" clId="{5CBE12F2-F3C8-4DCE-AD77-5EBD7EED8DBF}" dt="2024-03-24T07:31:38.608" v="6783"/>
          <ac:spMkLst>
            <pc:docMk/>
            <pc:sldMk cId="2529991948" sldId="2147378647"/>
            <ac:spMk id="4" creationId="{0098F668-8CD3-7DC3-437C-C5271E7613B5}"/>
          </ac:spMkLst>
        </pc:spChg>
        <pc:spChg chg="mod">
          <ac:chgData name="Mikami, Maho" userId="50612f1b-df2d-47bb-8fdd-7ddedc83fc7e" providerId="ADAL" clId="{5CBE12F2-F3C8-4DCE-AD77-5EBD7EED8DBF}" dt="2024-03-24T06:31:25.959" v="4484" actId="20577"/>
          <ac:spMkLst>
            <pc:docMk/>
            <pc:sldMk cId="2529991948" sldId="2147378647"/>
            <ac:spMk id="7" creationId="{23C63C62-DC2B-8867-EB20-198C399BC75D}"/>
          </ac:spMkLst>
        </pc:spChg>
        <pc:spChg chg="mod">
          <ac:chgData name="Mikami, Maho" userId="50612f1b-df2d-47bb-8fdd-7ddedc83fc7e" providerId="ADAL" clId="{5CBE12F2-F3C8-4DCE-AD77-5EBD7EED8DBF}" dt="2024-03-24T05:01:53.630" v="3054" actId="948"/>
          <ac:spMkLst>
            <pc:docMk/>
            <pc:sldMk cId="2529991948" sldId="2147378647"/>
            <ac:spMk id="9" creationId="{D3BB9B10-88A8-6E41-AA2B-3D445C868D70}"/>
          </ac:spMkLst>
        </pc:spChg>
        <pc:graphicFrameChg chg="mod">
          <ac:chgData name="Mikami, Maho" userId="50612f1b-df2d-47bb-8fdd-7ddedc83fc7e" providerId="ADAL" clId="{5CBE12F2-F3C8-4DCE-AD77-5EBD7EED8DBF}" dt="2024-03-24T05:01:53.637" v="3058"/>
          <ac:graphicFrameMkLst>
            <pc:docMk/>
            <pc:sldMk cId="2529991948" sldId="2147378647"/>
            <ac:graphicFrameMk id="5" creationId="{670953B7-7EC3-DD10-DA55-C4D22C9B339E}"/>
          </ac:graphicFrameMkLst>
        </pc:graphicFrameChg>
        <pc:graphicFrameChg chg="mod modGraphic">
          <ac:chgData name="Mikami, Maho" userId="50612f1b-df2d-47bb-8fdd-7ddedc83fc7e" providerId="ADAL" clId="{5CBE12F2-F3C8-4DCE-AD77-5EBD7EED8DBF}" dt="2024-03-24T06:31:35.672" v="4493" actId="20577"/>
          <ac:graphicFrameMkLst>
            <pc:docMk/>
            <pc:sldMk cId="2529991948" sldId="2147378647"/>
            <ac:graphicFrameMk id="6" creationId="{5E1157CD-36A0-0BE5-BA31-149195732EBE}"/>
          </ac:graphicFrameMkLst>
        </pc:graphicFrameChg>
      </pc:sldChg>
      <pc:sldChg chg="addSp delSp modSp mod">
        <pc:chgData name="Mikami, Maho" userId="50612f1b-df2d-47bb-8fdd-7ddedc83fc7e" providerId="ADAL" clId="{5CBE12F2-F3C8-4DCE-AD77-5EBD7EED8DBF}" dt="2024-03-24T07:31:36.192" v="6782"/>
        <pc:sldMkLst>
          <pc:docMk/>
          <pc:sldMk cId="2998465411" sldId="2147378648"/>
        </pc:sldMkLst>
        <pc:spChg chg="mod ord">
          <ac:chgData name="Mikami, Maho" userId="50612f1b-df2d-47bb-8fdd-7ddedc83fc7e" providerId="ADAL" clId="{5CBE12F2-F3C8-4DCE-AD77-5EBD7EED8DBF}" dt="2024-03-24T07:27:30.683" v="6560"/>
          <ac:spMkLst>
            <pc:docMk/>
            <pc:sldMk cId="2998465411" sldId="2147378648"/>
            <ac:spMk id="2" creationId="{0E5D0AD9-2BA7-E85C-4211-2AC064C1CB7E}"/>
          </ac:spMkLst>
        </pc:spChg>
        <pc:spChg chg="mod ord">
          <ac:chgData name="Mikami, Maho" userId="50612f1b-df2d-47bb-8fdd-7ddedc83fc7e" providerId="ADAL" clId="{5CBE12F2-F3C8-4DCE-AD77-5EBD7EED8DBF}" dt="2024-03-24T07:27:30.683" v="6562"/>
          <ac:spMkLst>
            <pc:docMk/>
            <pc:sldMk cId="2998465411" sldId="2147378648"/>
            <ac:spMk id="3" creationId="{417A18CA-0059-03EF-FE57-D2DBA870D210}"/>
          </ac:spMkLst>
        </pc:spChg>
        <pc:spChg chg="mod ord">
          <ac:chgData name="Mikami, Maho" userId="50612f1b-df2d-47bb-8fdd-7ddedc83fc7e" providerId="ADAL" clId="{5CBE12F2-F3C8-4DCE-AD77-5EBD7EED8DBF}" dt="2024-03-24T07:27:30.683" v="6564"/>
          <ac:spMkLst>
            <pc:docMk/>
            <pc:sldMk cId="2998465411" sldId="2147378648"/>
            <ac:spMk id="4" creationId="{4F1B8C31-A2AA-E8B5-6842-B8CA68666E37}"/>
          </ac:spMkLst>
        </pc:spChg>
        <pc:spChg chg="add del mod ord">
          <ac:chgData name="Mikami, Maho" userId="50612f1b-df2d-47bb-8fdd-7ddedc83fc7e" providerId="ADAL" clId="{5CBE12F2-F3C8-4DCE-AD77-5EBD7EED8DBF}" dt="2024-03-24T07:28:15.411" v="6663"/>
          <ac:spMkLst>
            <pc:docMk/>
            <pc:sldMk cId="2998465411" sldId="2147378648"/>
            <ac:spMk id="5" creationId="{2D5EA78A-6461-7E3B-1B64-172FF89181D2}"/>
          </ac:spMkLst>
        </pc:spChg>
        <pc:spChg chg="add del mod modVis">
          <ac:chgData name="Mikami, Maho" userId="50612f1b-df2d-47bb-8fdd-7ddedc83fc7e" providerId="ADAL" clId="{5CBE12F2-F3C8-4DCE-AD77-5EBD7EED8DBF}" dt="2024-03-24T05:01:43.553" v="3035"/>
          <ac:spMkLst>
            <pc:docMk/>
            <pc:sldMk cId="2998465411" sldId="2147378648"/>
            <ac:spMk id="7" creationId="{6ED3A2B7-22D1-A457-8BBD-F7DFFC3E0C60}"/>
          </ac:spMkLst>
        </pc:spChg>
        <pc:spChg chg="add mod">
          <ac:chgData name="Mikami, Maho" userId="50612f1b-df2d-47bb-8fdd-7ddedc83fc7e" providerId="ADAL" clId="{5CBE12F2-F3C8-4DCE-AD77-5EBD7EED8DBF}" dt="2024-03-24T07:31:36.192" v="6782"/>
          <ac:spMkLst>
            <pc:docMk/>
            <pc:sldMk cId="2998465411" sldId="2147378648"/>
            <ac:spMk id="9" creationId="{48931139-867A-5AB4-5CC9-E0E4CE42C655}"/>
          </ac:spMkLst>
        </pc:spChg>
        <pc:graphicFrameChg chg="add mod ord modVis replST">
          <ac:chgData name="Mikami, Maho" userId="50612f1b-df2d-47bb-8fdd-7ddedc83fc7e" providerId="ADAL" clId="{5CBE12F2-F3C8-4DCE-AD77-5EBD7EED8DBF}" dt="2024-03-24T07:27:30.690" v="6572"/>
          <ac:graphicFrameMkLst>
            <pc:docMk/>
            <pc:sldMk cId="2998465411" sldId="2147378648"/>
            <ac:graphicFrameMk id="6" creationId="{474E5002-D1F2-D774-C181-0B3C4AA38F51}"/>
          </ac:graphicFrameMkLst>
        </pc:graphicFrameChg>
        <pc:graphicFrameChg chg="add mod ord modGraphic">
          <ac:chgData name="Mikami, Maho" userId="50612f1b-df2d-47bb-8fdd-7ddedc83fc7e" providerId="ADAL" clId="{5CBE12F2-F3C8-4DCE-AD77-5EBD7EED8DBF}" dt="2024-03-24T07:27:41.944" v="6575" actId="1076"/>
          <ac:graphicFrameMkLst>
            <pc:docMk/>
            <pc:sldMk cId="2998465411" sldId="2147378648"/>
            <ac:graphicFrameMk id="8" creationId="{6BB7A498-4C84-2FEA-ED42-9455CEFC31A6}"/>
          </ac:graphicFrameMkLst>
        </pc:graphicFrameChg>
      </pc:sldChg>
      <pc:sldChg chg="addSp delSp modSp add mod">
        <pc:chgData name="Mikami, Maho" userId="50612f1b-df2d-47bb-8fdd-7ddedc83fc7e" providerId="ADAL" clId="{5CBE12F2-F3C8-4DCE-AD77-5EBD7EED8DBF}" dt="2024-03-24T03:52:02.517" v="611" actId="1076"/>
        <pc:sldMkLst>
          <pc:docMk/>
          <pc:sldMk cId="1802116569" sldId="2147378649"/>
        </pc:sldMkLst>
        <pc:spChg chg="del">
          <ac:chgData name="Mikami, Maho" userId="50612f1b-df2d-47bb-8fdd-7ddedc83fc7e" providerId="ADAL" clId="{5CBE12F2-F3C8-4DCE-AD77-5EBD7EED8DBF}" dt="2024-03-24T03:51:37.872" v="577" actId="478"/>
          <ac:spMkLst>
            <pc:docMk/>
            <pc:sldMk cId="1802116569" sldId="2147378649"/>
            <ac:spMk id="4" creationId="{B6181D12-DAFE-5B58-FEEF-CB004CE953C1}"/>
          </ac:spMkLst>
        </pc:spChg>
        <pc:spChg chg="del">
          <ac:chgData name="Mikami, Maho" userId="50612f1b-df2d-47bb-8fdd-7ddedc83fc7e" providerId="ADAL" clId="{5CBE12F2-F3C8-4DCE-AD77-5EBD7EED8DBF}" dt="2024-03-24T03:51:37.872" v="577" actId="478"/>
          <ac:spMkLst>
            <pc:docMk/>
            <pc:sldMk cId="1802116569" sldId="2147378649"/>
            <ac:spMk id="10" creationId="{181DCA97-405D-A75B-0405-D478EDEEDE16}"/>
          </ac:spMkLst>
        </pc:spChg>
        <pc:spChg chg="del">
          <ac:chgData name="Mikami, Maho" userId="50612f1b-df2d-47bb-8fdd-7ddedc83fc7e" providerId="ADAL" clId="{5CBE12F2-F3C8-4DCE-AD77-5EBD7EED8DBF}" dt="2024-03-24T03:51:37.872" v="577" actId="478"/>
          <ac:spMkLst>
            <pc:docMk/>
            <pc:sldMk cId="1802116569" sldId="2147378649"/>
            <ac:spMk id="13" creationId="{49A77711-C009-B9BB-1E2E-4617628A5383}"/>
          </ac:spMkLst>
        </pc:spChg>
        <pc:spChg chg="del">
          <ac:chgData name="Mikami, Maho" userId="50612f1b-df2d-47bb-8fdd-7ddedc83fc7e" providerId="ADAL" clId="{5CBE12F2-F3C8-4DCE-AD77-5EBD7EED8DBF}" dt="2024-03-24T03:51:37.872" v="577" actId="478"/>
          <ac:spMkLst>
            <pc:docMk/>
            <pc:sldMk cId="1802116569" sldId="2147378649"/>
            <ac:spMk id="14" creationId="{C3ADA840-D381-6B21-104F-28EBC84A35C0}"/>
          </ac:spMkLst>
        </pc:spChg>
        <pc:spChg chg="del">
          <ac:chgData name="Mikami, Maho" userId="50612f1b-df2d-47bb-8fdd-7ddedc83fc7e" providerId="ADAL" clId="{5CBE12F2-F3C8-4DCE-AD77-5EBD7EED8DBF}" dt="2024-03-24T03:51:37.872" v="577" actId="478"/>
          <ac:spMkLst>
            <pc:docMk/>
            <pc:sldMk cId="1802116569" sldId="2147378649"/>
            <ac:spMk id="15" creationId="{57251C2B-0110-516E-ADAE-AC618F372425}"/>
          </ac:spMkLst>
        </pc:spChg>
        <pc:spChg chg="del">
          <ac:chgData name="Mikami, Maho" userId="50612f1b-df2d-47bb-8fdd-7ddedc83fc7e" providerId="ADAL" clId="{5CBE12F2-F3C8-4DCE-AD77-5EBD7EED8DBF}" dt="2024-03-24T03:51:37.872" v="577" actId="478"/>
          <ac:spMkLst>
            <pc:docMk/>
            <pc:sldMk cId="1802116569" sldId="2147378649"/>
            <ac:spMk id="16" creationId="{ACA21518-52F8-BB5A-8F09-790DC6B44A1E}"/>
          </ac:spMkLst>
        </pc:spChg>
        <pc:grpChg chg="del">
          <ac:chgData name="Mikami, Maho" userId="50612f1b-df2d-47bb-8fdd-7ddedc83fc7e" providerId="ADAL" clId="{5CBE12F2-F3C8-4DCE-AD77-5EBD7EED8DBF}" dt="2024-03-24T03:51:37.872" v="577" actId="478"/>
          <ac:grpSpMkLst>
            <pc:docMk/>
            <pc:sldMk cId="1802116569" sldId="2147378649"/>
            <ac:grpSpMk id="36" creationId="{C29742BA-D375-4384-2D73-208BA9710E46}"/>
          </ac:grpSpMkLst>
        </pc:grpChg>
        <pc:grpChg chg="del">
          <ac:chgData name="Mikami, Maho" userId="50612f1b-df2d-47bb-8fdd-7ddedc83fc7e" providerId="ADAL" clId="{5CBE12F2-F3C8-4DCE-AD77-5EBD7EED8DBF}" dt="2024-03-24T03:51:37.872" v="577" actId="478"/>
          <ac:grpSpMkLst>
            <pc:docMk/>
            <pc:sldMk cId="1802116569" sldId="2147378649"/>
            <ac:grpSpMk id="42" creationId="{90BE4EF8-3949-9CDD-CF51-068918BB92DB}"/>
          </ac:grpSpMkLst>
        </pc:grpChg>
        <pc:graphicFrameChg chg="add mod modGraphic">
          <ac:chgData name="Mikami, Maho" userId="50612f1b-df2d-47bb-8fdd-7ddedc83fc7e" providerId="ADAL" clId="{5CBE12F2-F3C8-4DCE-AD77-5EBD7EED8DBF}" dt="2024-03-24T03:52:02.517" v="611" actId="1076"/>
          <ac:graphicFrameMkLst>
            <pc:docMk/>
            <pc:sldMk cId="1802116569" sldId="2147378649"/>
            <ac:graphicFrameMk id="17" creationId="{320F1E90-FE55-6196-E9E1-3C82C3CE23D1}"/>
          </ac:graphicFrameMkLst>
        </pc:graphicFrameChg>
      </pc:sldChg>
      <pc:sldChg chg="addSp delSp modSp del mod">
        <pc:chgData name="Mikami, Maho" userId="50612f1b-df2d-47bb-8fdd-7ddedc83fc7e" providerId="ADAL" clId="{5CBE12F2-F3C8-4DCE-AD77-5EBD7EED8DBF}" dt="2024-03-24T07:14:16.322" v="5582" actId="2696"/>
        <pc:sldMkLst>
          <pc:docMk/>
          <pc:sldMk cId="128044781" sldId="2147378650"/>
        </pc:sldMkLst>
        <pc:spChg chg="mod">
          <ac:chgData name="Mikami, Maho" userId="50612f1b-df2d-47bb-8fdd-7ddedc83fc7e" providerId="ADAL" clId="{5CBE12F2-F3C8-4DCE-AD77-5EBD7EED8DBF}" dt="2024-03-24T06:21:58.636" v="4059" actId="948"/>
          <ac:spMkLst>
            <pc:docMk/>
            <pc:sldMk cId="128044781" sldId="2147378650"/>
            <ac:spMk id="4" creationId="{EE939D36-9C1A-E1D5-9C69-61295C1D2A20}"/>
          </ac:spMkLst>
        </pc:spChg>
        <pc:spChg chg="mod">
          <ac:chgData name="Mikami, Maho" userId="50612f1b-df2d-47bb-8fdd-7ddedc83fc7e" providerId="ADAL" clId="{5CBE12F2-F3C8-4DCE-AD77-5EBD7EED8DBF}" dt="2024-03-24T07:13:45.686" v="5562" actId="164"/>
          <ac:spMkLst>
            <pc:docMk/>
            <pc:sldMk cId="128044781" sldId="2147378650"/>
            <ac:spMk id="5" creationId="{64D9EFCF-5556-C67C-43C3-1B21791BAA3B}"/>
          </ac:spMkLst>
        </pc:spChg>
        <pc:spChg chg="del">
          <ac:chgData name="Mikami, Maho" userId="50612f1b-df2d-47bb-8fdd-7ddedc83fc7e" providerId="ADAL" clId="{5CBE12F2-F3C8-4DCE-AD77-5EBD7EED8DBF}" dt="2024-03-24T06:20:35.667" v="3943" actId="478"/>
          <ac:spMkLst>
            <pc:docMk/>
            <pc:sldMk cId="128044781" sldId="2147378650"/>
            <ac:spMk id="7" creationId="{5F2F6995-ED34-BC12-C7D1-423BB0605684}"/>
          </ac:spMkLst>
        </pc:spChg>
        <pc:spChg chg="del">
          <ac:chgData name="Mikami, Maho" userId="50612f1b-df2d-47bb-8fdd-7ddedc83fc7e" providerId="ADAL" clId="{5CBE12F2-F3C8-4DCE-AD77-5EBD7EED8DBF}" dt="2024-03-24T06:20:35.667" v="3943" actId="478"/>
          <ac:spMkLst>
            <pc:docMk/>
            <pc:sldMk cId="128044781" sldId="2147378650"/>
            <ac:spMk id="8" creationId="{68F72CB9-8E09-254A-6143-095430315A93}"/>
          </ac:spMkLst>
        </pc:spChg>
        <pc:spChg chg="del">
          <ac:chgData name="Mikami, Maho" userId="50612f1b-df2d-47bb-8fdd-7ddedc83fc7e" providerId="ADAL" clId="{5CBE12F2-F3C8-4DCE-AD77-5EBD7EED8DBF}" dt="2024-03-24T06:20:35.667" v="3943" actId="478"/>
          <ac:spMkLst>
            <pc:docMk/>
            <pc:sldMk cId="128044781" sldId="2147378650"/>
            <ac:spMk id="9" creationId="{DCF1BF44-1C79-A7D2-D4EC-DF06E66AEB8B}"/>
          </ac:spMkLst>
        </pc:spChg>
        <pc:spChg chg="del">
          <ac:chgData name="Mikami, Maho" userId="50612f1b-df2d-47bb-8fdd-7ddedc83fc7e" providerId="ADAL" clId="{5CBE12F2-F3C8-4DCE-AD77-5EBD7EED8DBF}" dt="2024-03-24T06:20:35.667" v="3943" actId="478"/>
          <ac:spMkLst>
            <pc:docMk/>
            <pc:sldMk cId="128044781" sldId="2147378650"/>
            <ac:spMk id="10" creationId="{371A09B2-09AE-FD92-D602-1123981A28C2}"/>
          </ac:spMkLst>
        </pc:spChg>
        <pc:spChg chg="del">
          <ac:chgData name="Mikami, Maho" userId="50612f1b-df2d-47bb-8fdd-7ddedc83fc7e" providerId="ADAL" clId="{5CBE12F2-F3C8-4DCE-AD77-5EBD7EED8DBF}" dt="2024-03-24T06:20:35.667" v="3943" actId="478"/>
          <ac:spMkLst>
            <pc:docMk/>
            <pc:sldMk cId="128044781" sldId="2147378650"/>
            <ac:spMk id="11" creationId="{139F3379-CD7B-574E-98ED-EE839BC6FA6F}"/>
          </ac:spMkLst>
        </pc:spChg>
        <pc:spChg chg="add mod">
          <ac:chgData name="Mikami, Maho" userId="50612f1b-df2d-47bb-8fdd-7ddedc83fc7e" providerId="ADAL" clId="{5CBE12F2-F3C8-4DCE-AD77-5EBD7EED8DBF}" dt="2024-03-24T07:13:45.686" v="5562" actId="164"/>
          <ac:spMkLst>
            <pc:docMk/>
            <pc:sldMk cId="128044781" sldId="2147378650"/>
            <ac:spMk id="12" creationId="{6AB0C70C-9EED-5729-BBBE-98FB5BFED38E}"/>
          </ac:spMkLst>
        </pc:spChg>
        <pc:spChg chg="del">
          <ac:chgData name="Mikami, Maho" userId="50612f1b-df2d-47bb-8fdd-7ddedc83fc7e" providerId="ADAL" clId="{5CBE12F2-F3C8-4DCE-AD77-5EBD7EED8DBF}" dt="2024-03-24T06:20:35.667" v="3943" actId="478"/>
          <ac:spMkLst>
            <pc:docMk/>
            <pc:sldMk cId="128044781" sldId="2147378650"/>
            <ac:spMk id="17" creationId="{0C3DF9A1-8E2F-3C85-0802-186D8B052020}"/>
          </ac:spMkLst>
        </pc:spChg>
        <pc:spChg chg="del">
          <ac:chgData name="Mikami, Maho" userId="50612f1b-df2d-47bb-8fdd-7ddedc83fc7e" providerId="ADAL" clId="{5CBE12F2-F3C8-4DCE-AD77-5EBD7EED8DBF}" dt="2024-03-24T06:20:35.667" v="3943" actId="478"/>
          <ac:spMkLst>
            <pc:docMk/>
            <pc:sldMk cId="128044781" sldId="2147378650"/>
            <ac:spMk id="18" creationId="{DB143C2D-15F5-1A5C-50BC-2891DE912276}"/>
          </ac:spMkLst>
        </pc:spChg>
        <pc:spChg chg="del">
          <ac:chgData name="Mikami, Maho" userId="50612f1b-df2d-47bb-8fdd-7ddedc83fc7e" providerId="ADAL" clId="{5CBE12F2-F3C8-4DCE-AD77-5EBD7EED8DBF}" dt="2024-03-24T06:20:35.667" v="3943" actId="478"/>
          <ac:spMkLst>
            <pc:docMk/>
            <pc:sldMk cId="128044781" sldId="2147378650"/>
            <ac:spMk id="19" creationId="{D00447BF-13FE-CEB3-D3F0-DB50E0D922A3}"/>
          </ac:spMkLst>
        </pc:spChg>
        <pc:spChg chg="del">
          <ac:chgData name="Mikami, Maho" userId="50612f1b-df2d-47bb-8fdd-7ddedc83fc7e" providerId="ADAL" clId="{5CBE12F2-F3C8-4DCE-AD77-5EBD7EED8DBF}" dt="2024-03-24T06:20:35.667" v="3943" actId="478"/>
          <ac:spMkLst>
            <pc:docMk/>
            <pc:sldMk cId="128044781" sldId="2147378650"/>
            <ac:spMk id="20" creationId="{066D0BB7-1B6F-5F3F-506D-F8A459454E34}"/>
          </ac:spMkLst>
        </pc:spChg>
        <pc:spChg chg="del">
          <ac:chgData name="Mikami, Maho" userId="50612f1b-df2d-47bb-8fdd-7ddedc83fc7e" providerId="ADAL" clId="{5CBE12F2-F3C8-4DCE-AD77-5EBD7EED8DBF}" dt="2024-03-24T06:20:35.667" v="3943" actId="478"/>
          <ac:spMkLst>
            <pc:docMk/>
            <pc:sldMk cId="128044781" sldId="2147378650"/>
            <ac:spMk id="21" creationId="{7663E85C-3D68-7CBD-BB6B-9C9C62DFA17A}"/>
          </ac:spMkLst>
        </pc:spChg>
        <pc:spChg chg="del">
          <ac:chgData name="Mikami, Maho" userId="50612f1b-df2d-47bb-8fdd-7ddedc83fc7e" providerId="ADAL" clId="{5CBE12F2-F3C8-4DCE-AD77-5EBD7EED8DBF}" dt="2024-03-24T06:20:35.667" v="3943" actId="478"/>
          <ac:spMkLst>
            <pc:docMk/>
            <pc:sldMk cId="128044781" sldId="2147378650"/>
            <ac:spMk id="22" creationId="{263B637B-7094-4C9D-CB8F-5CE7473F80BF}"/>
          </ac:spMkLst>
        </pc:spChg>
        <pc:spChg chg="del">
          <ac:chgData name="Mikami, Maho" userId="50612f1b-df2d-47bb-8fdd-7ddedc83fc7e" providerId="ADAL" clId="{5CBE12F2-F3C8-4DCE-AD77-5EBD7EED8DBF}" dt="2024-03-24T06:20:35.667" v="3943" actId="478"/>
          <ac:spMkLst>
            <pc:docMk/>
            <pc:sldMk cId="128044781" sldId="2147378650"/>
            <ac:spMk id="23" creationId="{5F75D7CE-5F5C-5360-407E-8F1C92A39668}"/>
          </ac:spMkLst>
        </pc:spChg>
        <pc:spChg chg="del">
          <ac:chgData name="Mikami, Maho" userId="50612f1b-df2d-47bb-8fdd-7ddedc83fc7e" providerId="ADAL" clId="{5CBE12F2-F3C8-4DCE-AD77-5EBD7EED8DBF}" dt="2024-03-24T06:20:35.667" v="3943" actId="478"/>
          <ac:spMkLst>
            <pc:docMk/>
            <pc:sldMk cId="128044781" sldId="2147378650"/>
            <ac:spMk id="24" creationId="{1BD360EA-7E67-0F0F-FEF5-1105A4FC4957}"/>
          </ac:spMkLst>
        </pc:spChg>
        <pc:spChg chg="del">
          <ac:chgData name="Mikami, Maho" userId="50612f1b-df2d-47bb-8fdd-7ddedc83fc7e" providerId="ADAL" clId="{5CBE12F2-F3C8-4DCE-AD77-5EBD7EED8DBF}" dt="2024-03-24T06:20:35.667" v="3943" actId="478"/>
          <ac:spMkLst>
            <pc:docMk/>
            <pc:sldMk cId="128044781" sldId="2147378650"/>
            <ac:spMk id="25" creationId="{C025AC64-B653-8DF7-5567-2CCD7F5A4842}"/>
          </ac:spMkLst>
        </pc:spChg>
        <pc:spChg chg="del">
          <ac:chgData name="Mikami, Maho" userId="50612f1b-df2d-47bb-8fdd-7ddedc83fc7e" providerId="ADAL" clId="{5CBE12F2-F3C8-4DCE-AD77-5EBD7EED8DBF}" dt="2024-03-24T06:20:35.667" v="3943" actId="478"/>
          <ac:spMkLst>
            <pc:docMk/>
            <pc:sldMk cId="128044781" sldId="2147378650"/>
            <ac:spMk id="26" creationId="{F3DE1FF1-EAA5-1BF3-604D-270ED24F1227}"/>
          </ac:spMkLst>
        </pc:spChg>
        <pc:spChg chg="del">
          <ac:chgData name="Mikami, Maho" userId="50612f1b-df2d-47bb-8fdd-7ddedc83fc7e" providerId="ADAL" clId="{5CBE12F2-F3C8-4DCE-AD77-5EBD7EED8DBF}" dt="2024-03-24T06:20:35.667" v="3943" actId="478"/>
          <ac:spMkLst>
            <pc:docMk/>
            <pc:sldMk cId="128044781" sldId="2147378650"/>
            <ac:spMk id="27" creationId="{DEF20B9B-DCAB-9BD9-9E37-8531337B3E1D}"/>
          </ac:spMkLst>
        </pc:spChg>
        <pc:spChg chg="del">
          <ac:chgData name="Mikami, Maho" userId="50612f1b-df2d-47bb-8fdd-7ddedc83fc7e" providerId="ADAL" clId="{5CBE12F2-F3C8-4DCE-AD77-5EBD7EED8DBF}" dt="2024-03-24T06:20:35.667" v="3943" actId="478"/>
          <ac:spMkLst>
            <pc:docMk/>
            <pc:sldMk cId="128044781" sldId="2147378650"/>
            <ac:spMk id="28" creationId="{C5AB2DEF-58E9-FFDA-B948-85B871F01584}"/>
          </ac:spMkLst>
        </pc:spChg>
        <pc:spChg chg="del">
          <ac:chgData name="Mikami, Maho" userId="50612f1b-df2d-47bb-8fdd-7ddedc83fc7e" providerId="ADAL" clId="{5CBE12F2-F3C8-4DCE-AD77-5EBD7EED8DBF}" dt="2024-03-24T06:20:35.667" v="3943" actId="478"/>
          <ac:spMkLst>
            <pc:docMk/>
            <pc:sldMk cId="128044781" sldId="2147378650"/>
            <ac:spMk id="29" creationId="{93695E8A-6507-1A61-5830-059FFE28E338}"/>
          </ac:spMkLst>
        </pc:spChg>
        <pc:spChg chg="del">
          <ac:chgData name="Mikami, Maho" userId="50612f1b-df2d-47bb-8fdd-7ddedc83fc7e" providerId="ADAL" clId="{5CBE12F2-F3C8-4DCE-AD77-5EBD7EED8DBF}" dt="2024-03-24T06:20:35.667" v="3943" actId="478"/>
          <ac:spMkLst>
            <pc:docMk/>
            <pc:sldMk cId="128044781" sldId="2147378650"/>
            <ac:spMk id="30" creationId="{5CA9EF39-A382-637E-E690-F6E6C3E38550}"/>
          </ac:spMkLst>
        </pc:spChg>
        <pc:spChg chg="del">
          <ac:chgData name="Mikami, Maho" userId="50612f1b-df2d-47bb-8fdd-7ddedc83fc7e" providerId="ADAL" clId="{5CBE12F2-F3C8-4DCE-AD77-5EBD7EED8DBF}" dt="2024-03-24T06:20:35.667" v="3943" actId="478"/>
          <ac:spMkLst>
            <pc:docMk/>
            <pc:sldMk cId="128044781" sldId="2147378650"/>
            <ac:spMk id="31" creationId="{EC318247-48E6-6824-ECE3-A467E2DCC7A6}"/>
          </ac:spMkLst>
        </pc:spChg>
        <pc:spChg chg="mod">
          <ac:chgData name="Mikami, Maho" userId="50612f1b-df2d-47bb-8fdd-7ddedc83fc7e" providerId="ADAL" clId="{5CBE12F2-F3C8-4DCE-AD77-5EBD7EED8DBF}" dt="2024-03-24T06:20:39.173" v="3957" actId="1036"/>
          <ac:spMkLst>
            <pc:docMk/>
            <pc:sldMk cId="128044781" sldId="2147378650"/>
            <ac:spMk id="32" creationId="{FF0B8435-D959-54D8-1DF9-23C00B906D30}"/>
          </ac:spMkLst>
        </pc:spChg>
        <pc:spChg chg="del">
          <ac:chgData name="Mikami, Maho" userId="50612f1b-df2d-47bb-8fdd-7ddedc83fc7e" providerId="ADAL" clId="{5CBE12F2-F3C8-4DCE-AD77-5EBD7EED8DBF}" dt="2024-03-24T06:20:35.667" v="3943" actId="478"/>
          <ac:spMkLst>
            <pc:docMk/>
            <pc:sldMk cId="128044781" sldId="2147378650"/>
            <ac:spMk id="35" creationId="{C49DEDD9-3A61-A50F-999D-0B06234EBD4E}"/>
          </ac:spMkLst>
        </pc:spChg>
        <pc:grpChg chg="add mod">
          <ac:chgData name="Mikami, Maho" userId="50612f1b-df2d-47bb-8fdd-7ddedc83fc7e" providerId="ADAL" clId="{5CBE12F2-F3C8-4DCE-AD77-5EBD7EED8DBF}" dt="2024-03-24T07:13:49.317" v="5563" actId="14100"/>
          <ac:grpSpMkLst>
            <pc:docMk/>
            <pc:sldMk cId="128044781" sldId="2147378650"/>
            <ac:grpSpMk id="15" creationId="{4E0108A7-8262-26DB-F062-34B147F6D02B}"/>
          </ac:grpSpMkLst>
        </pc:grpChg>
        <pc:grpChg chg="del mod">
          <ac:chgData name="Mikami, Maho" userId="50612f1b-df2d-47bb-8fdd-7ddedc83fc7e" providerId="ADAL" clId="{5CBE12F2-F3C8-4DCE-AD77-5EBD7EED8DBF}" dt="2024-03-24T06:22:01.494" v="4064" actId="478"/>
          <ac:grpSpMkLst>
            <pc:docMk/>
            <pc:sldMk cId="128044781" sldId="2147378650"/>
            <ac:grpSpMk id="34" creationId="{0FA49C46-EA98-8D09-B5F8-C36CD9242961}"/>
          </ac:grpSpMkLst>
        </pc:grpChg>
        <pc:graphicFrameChg chg="mod">
          <ac:chgData name="Mikami, Maho" userId="50612f1b-df2d-47bb-8fdd-7ddedc83fc7e" providerId="ADAL" clId="{5CBE12F2-F3C8-4DCE-AD77-5EBD7EED8DBF}" dt="2024-03-24T06:21:58.652" v="4063"/>
          <ac:graphicFrameMkLst>
            <pc:docMk/>
            <pc:sldMk cId="128044781" sldId="2147378650"/>
            <ac:graphicFrameMk id="6" creationId="{5D252BC9-62AE-D737-64B4-909F97A853A3}"/>
          </ac:graphicFrameMkLst>
        </pc:graphicFrameChg>
        <pc:graphicFrameChg chg="add mod modGraphic">
          <ac:chgData name="Mikami, Maho" userId="50612f1b-df2d-47bb-8fdd-7ddedc83fc7e" providerId="ADAL" clId="{5CBE12F2-F3C8-4DCE-AD77-5EBD7EED8DBF}" dt="2024-03-24T07:14:12.361" v="5581" actId="20577"/>
          <ac:graphicFrameMkLst>
            <pc:docMk/>
            <pc:sldMk cId="128044781" sldId="2147378650"/>
            <ac:graphicFrameMk id="13" creationId="{CBE4383E-1271-57D5-0A0D-574668FBD286}"/>
          </ac:graphicFrameMkLst>
        </pc:graphicFrameChg>
        <pc:picChg chg="add del mod">
          <ac:chgData name="Mikami, Maho" userId="50612f1b-df2d-47bb-8fdd-7ddedc83fc7e" providerId="ADAL" clId="{5CBE12F2-F3C8-4DCE-AD77-5EBD7EED8DBF}" dt="2024-03-24T06:21:14.060" v="4033" actId="478"/>
          <ac:picMkLst>
            <pc:docMk/>
            <pc:sldMk cId="128044781" sldId="2147378650"/>
            <ac:picMk id="14" creationId="{C812CEF2-D6B4-57EC-B4E1-2867ECCE0D48}"/>
          </ac:picMkLst>
        </pc:picChg>
        <pc:cxnChg chg="mod">
          <ac:chgData name="Mikami, Maho" userId="50612f1b-df2d-47bb-8fdd-7ddedc83fc7e" providerId="ADAL" clId="{5CBE12F2-F3C8-4DCE-AD77-5EBD7EED8DBF}" dt="2024-03-24T06:20:39.173" v="3957" actId="1036"/>
          <ac:cxnSpMkLst>
            <pc:docMk/>
            <pc:sldMk cId="128044781" sldId="2147378650"/>
            <ac:cxnSpMk id="33" creationId="{D4D1B8DD-3F53-BB74-D7A7-EABC342A9291}"/>
          </ac:cxnSpMkLst>
        </pc:cxnChg>
      </pc:sldChg>
      <pc:sldChg chg="modSp add del mod ord">
        <pc:chgData name="Mikami, Maho" userId="50612f1b-df2d-47bb-8fdd-7ddedc83fc7e" providerId="ADAL" clId="{5CBE12F2-F3C8-4DCE-AD77-5EBD7EED8DBF}" dt="2024-03-24T07:21:36.911" v="6387" actId="2696"/>
        <pc:sldMkLst>
          <pc:docMk/>
          <pc:sldMk cId="1046357536" sldId="2147378650"/>
        </pc:sldMkLst>
        <pc:grpChg chg="mod">
          <ac:chgData name="Mikami, Maho" userId="50612f1b-df2d-47bb-8fdd-7ddedc83fc7e" providerId="ADAL" clId="{5CBE12F2-F3C8-4DCE-AD77-5EBD7EED8DBF}" dt="2024-03-24T07:15:49.622" v="5741" actId="14100"/>
          <ac:grpSpMkLst>
            <pc:docMk/>
            <pc:sldMk cId="1046357536" sldId="2147378650"/>
            <ac:grpSpMk id="15" creationId="{ACE54CCF-B0EA-E0C6-A733-C3FB524D3112}"/>
          </ac:grpSpMkLst>
        </pc:grpChg>
        <pc:graphicFrameChg chg="mod modGraphic">
          <ac:chgData name="Mikami, Maho" userId="50612f1b-df2d-47bb-8fdd-7ddedc83fc7e" providerId="ADAL" clId="{5CBE12F2-F3C8-4DCE-AD77-5EBD7EED8DBF}" dt="2024-03-24T07:21:34.742" v="6386"/>
          <ac:graphicFrameMkLst>
            <pc:docMk/>
            <pc:sldMk cId="1046357536" sldId="2147378650"/>
            <ac:graphicFrameMk id="13" creationId="{0FB555E9-C471-7A66-8002-FA85871AA1AA}"/>
          </ac:graphicFrameMkLst>
        </pc:graphicFrameChg>
      </pc:sldChg>
      <pc:sldChg chg="add">
        <pc:chgData name="Mikami, Maho" userId="50612f1b-df2d-47bb-8fdd-7ddedc83fc7e" providerId="ADAL" clId="{5CBE12F2-F3C8-4DCE-AD77-5EBD7EED8DBF}" dt="2024-03-24T07:21:40.890" v="6388"/>
        <pc:sldMkLst>
          <pc:docMk/>
          <pc:sldMk cId="3657893772" sldId="2147378650"/>
        </pc:sldMkLst>
      </pc:sldChg>
      <pc:sldChg chg="modSp add mod">
        <pc:chgData name="Mikami, Maho" userId="50612f1b-df2d-47bb-8fdd-7ddedc83fc7e" providerId="ADAL" clId="{5CBE12F2-F3C8-4DCE-AD77-5EBD7EED8DBF}" dt="2024-03-24T07:18:11.168" v="5958" actId="20577"/>
        <pc:sldMkLst>
          <pc:docMk/>
          <pc:sldMk cId="1033348287" sldId="2147378651"/>
        </pc:sldMkLst>
        <pc:spChg chg="mod">
          <ac:chgData name="Mikami, Maho" userId="50612f1b-df2d-47bb-8fdd-7ddedc83fc7e" providerId="ADAL" clId="{5CBE12F2-F3C8-4DCE-AD77-5EBD7EED8DBF}" dt="2024-03-24T07:18:11.168" v="5958" actId="20577"/>
          <ac:spMkLst>
            <pc:docMk/>
            <pc:sldMk cId="1033348287" sldId="2147378651"/>
            <ac:spMk id="7" creationId="{D1BD3CAF-05B0-0DF8-36DF-7405B22C482A}"/>
          </ac:spMkLst>
        </pc:spChg>
        <pc:spChg chg="mod">
          <ac:chgData name="Mikami, Maho" userId="50612f1b-df2d-47bb-8fdd-7ddedc83fc7e" providerId="ADAL" clId="{5CBE12F2-F3C8-4DCE-AD77-5EBD7EED8DBF}" dt="2024-03-24T04:55:04.513" v="2683" actId="948"/>
          <ac:spMkLst>
            <pc:docMk/>
            <pc:sldMk cId="1033348287" sldId="2147378651"/>
            <ac:spMk id="9" creationId="{F7DA7227-3724-60C8-1F06-5A8A2F4AF1F8}"/>
          </ac:spMkLst>
        </pc:spChg>
        <pc:graphicFrameChg chg="mod">
          <ac:chgData name="Mikami, Maho" userId="50612f1b-df2d-47bb-8fdd-7ddedc83fc7e" providerId="ADAL" clId="{5CBE12F2-F3C8-4DCE-AD77-5EBD7EED8DBF}" dt="2024-03-24T04:55:04.529" v="2687"/>
          <ac:graphicFrameMkLst>
            <pc:docMk/>
            <pc:sldMk cId="1033348287" sldId="2147378651"/>
            <ac:graphicFrameMk id="5" creationId="{84E354F3-1957-AAC3-B43F-BEDAC47C5BC8}"/>
          </ac:graphicFrameMkLst>
        </pc:graphicFrameChg>
      </pc:sldChg>
      <pc:sldChg chg="add del">
        <pc:chgData name="Mikami, Maho" userId="50612f1b-df2d-47bb-8fdd-7ddedc83fc7e" providerId="ADAL" clId="{5CBE12F2-F3C8-4DCE-AD77-5EBD7EED8DBF}" dt="2024-03-24T06:22:55.895" v="4082"/>
        <pc:sldMkLst>
          <pc:docMk/>
          <pc:sldMk cId="609977972" sldId="2147378652"/>
        </pc:sldMkLst>
      </pc:sldChg>
      <pc:sldChg chg="add del">
        <pc:chgData name="Mikami, Maho" userId="50612f1b-df2d-47bb-8fdd-7ddedc83fc7e" providerId="ADAL" clId="{5CBE12F2-F3C8-4DCE-AD77-5EBD7EED8DBF}" dt="2024-03-24T06:16:40.279" v="3262"/>
        <pc:sldMkLst>
          <pc:docMk/>
          <pc:sldMk cId="841302467" sldId="2147378652"/>
        </pc:sldMkLst>
      </pc:sldChg>
      <pc:sldChg chg="modSp add mod">
        <pc:chgData name="Mikami, Maho" userId="50612f1b-df2d-47bb-8fdd-7ddedc83fc7e" providerId="ADAL" clId="{5CBE12F2-F3C8-4DCE-AD77-5EBD7EED8DBF}" dt="2024-03-24T06:23:03.893" v="4131" actId="1036"/>
        <pc:sldMkLst>
          <pc:docMk/>
          <pc:sldMk cId="2854292604" sldId="2147378652"/>
        </pc:sldMkLst>
        <pc:spChg chg="mod">
          <ac:chgData name="Mikami, Maho" userId="50612f1b-df2d-47bb-8fdd-7ddedc83fc7e" providerId="ADAL" clId="{5CBE12F2-F3C8-4DCE-AD77-5EBD7EED8DBF}" dt="2024-03-24T06:23:03.893" v="4131" actId="1036"/>
          <ac:spMkLst>
            <pc:docMk/>
            <pc:sldMk cId="2854292604" sldId="2147378652"/>
            <ac:spMk id="9" creationId="{6DCCCEAA-508F-3EF7-C914-6C10291DD5BF}"/>
          </ac:spMkLst>
        </pc:spChg>
      </pc:sldChg>
      <pc:sldChg chg="modSp add mod">
        <pc:chgData name="Mikami, Maho" userId="50612f1b-df2d-47bb-8fdd-7ddedc83fc7e" providerId="ADAL" clId="{5CBE12F2-F3C8-4DCE-AD77-5EBD7EED8DBF}" dt="2024-03-24T06:23:19.776" v="4160" actId="1037"/>
        <pc:sldMkLst>
          <pc:docMk/>
          <pc:sldMk cId="1245055399" sldId="2147378653"/>
        </pc:sldMkLst>
        <pc:spChg chg="mod">
          <ac:chgData name="Mikami, Maho" userId="50612f1b-df2d-47bb-8fdd-7ddedc83fc7e" providerId="ADAL" clId="{5CBE12F2-F3C8-4DCE-AD77-5EBD7EED8DBF}" dt="2024-03-24T06:23:19.776" v="4160" actId="1037"/>
          <ac:spMkLst>
            <pc:docMk/>
            <pc:sldMk cId="1245055399" sldId="2147378653"/>
            <ac:spMk id="9" creationId="{B79A90FB-8F87-BD8C-CDDB-781282C516A5}"/>
          </ac:spMkLst>
        </pc:spChg>
      </pc:sldChg>
      <pc:sldChg chg="modSp add mod ord">
        <pc:chgData name="Mikami, Maho" userId="50612f1b-df2d-47bb-8fdd-7ddedc83fc7e" providerId="ADAL" clId="{5CBE12F2-F3C8-4DCE-AD77-5EBD7EED8DBF}" dt="2024-03-24T06:23:40.235" v="4220" actId="1035"/>
        <pc:sldMkLst>
          <pc:docMk/>
          <pc:sldMk cId="1786860980" sldId="2147378654"/>
        </pc:sldMkLst>
        <pc:spChg chg="mod">
          <ac:chgData name="Mikami, Maho" userId="50612f1b-df2d-47bb-8fdd-7ddedc83fc7e" providerId="ADAL" clId="{5CBE12F2-F3C8-4DCE-AD77-5EBD7EED8DBF}" dt="2024-03-24T06:23:40.235" v="4220" actId="1035"/>
          <ac:spMkLst>
            <pc:docMk/>
            <pc:sldMk cId="1786860980" sldId="2147378654"/>
            <ac:spMk id="9" creationId="{78D88DDB-A6F4-93E9-67F8-646493CF2FF7}"/>
          </ac:spMkLst>
        </pc:spChg>
      </pc:sldChg>
      <pc:sldChg chg="modSp add mod">
        <pc:chgData name="Mikami, Maho" userId="50612f1b-df2d-47bb-8fdd-7ddedc83fc7e" providerId="ADAL" clId="{5CBE12F2-F3C8-4DCE-AD77-5EBD7EED8DBF}" dt="2024-03-24T06:24:07.229" v="4277" actId="1035"/>
        <pc:sldMkLst>
          <pc:docMk/>
          <pc:sldMk cId="170465048" sldId="2147378655"/>
        </pc:sldMkLst>
        <pc:spChg chg="mod">
          <ac:chgData name="Mikami, Maho" userId="50612f1b-df2d-47bb-8fdd-7ddedc83fc7e" providerId="ADAL" clId="{5CBE12F2-F3C8-4DCE-AD77-5EBD7EED8DBF}" dt="2024-03-24T06:24:07.229" v="4277" actId="1035"/>
          <ac:spMkLst>
            <pc:docMk/>
            <pc:sldMk cId="170465048" sldId="2147378655"/>
            <ac:spMk id="9" creationId="{A8AC4875-B2F5-919B-86E8-16A48D488648}"/>
          </ac:spMkLst>
        </pc:spChg>
      </pc:sldChg>
      <pc:sldChg chg="add del">
        <pc:chgData name="Mikami, Maho" userId="50612f1b-df2d-47bb-8fdd-7ddedc83fc7e" providerId="ADAL" clId="{5CBE12F2-F3C8-4DCE-AD77-5EBD7EED8DBF}" dt="2024-03-24T06:23:50.513" v="4223" actId="2696"/>
        <pc:sldMkLst>
          <pc:docMk/>
          <pc:sldMk cId="1413898489" sldId="2147378655"/>
        </pc:sldMkLst>
      </pc:sldChg>
      <pc:sldChg chg="addSp delSp modSp add mod">
        <pc:chgData name="Mikami, Maho" userId="50612f1b-df2d-47bb-8fdd-7ddedc83fc7e" providerId="ADAL" clId="{5CBE12F2-F3C8-4DCE-AD77-5EBD7EED8DBF}" dt="2024-03-24T07:31:06.412" v="6708"/>
        <pc:sldMkLst>
          <pc:docMk/>
          <pc:sldMk cId="3951634490" sldId="2147378656"/>
        </pc:sldMkLst>
        <pc:spChg chg="mod ord">
          <ac:chgData name="Mikami, Maho" userId="50612f1b-df2d-47bb-8fdd-7ddedc83fc7e" providerId="ADAL" clId="{5CBE12F2-F3C8-4DCE-AD77-5EBD7EED8DBF}" dt="2024-03-24T07:09:47.845" v="5217"/>
          <ac:spMkLst>
            <pc:docMk/>
            <pc:sldMk cId="3951634490" sldId="2147378656"/>
            <ac:spMk id="2" creationId="{BAE1103A-8328-C41B-0D87-E9344198FC35}"/>
          </ac:spMkLst>
        </pc:spChg>
        <pc:spChg chg="mod ord">
          <ac:chgData name="Mikami, Maho" userId="50612f1b-df2d-47bb-8fdd-7ddedc83fc7e" providerId="ADAL" clId="{5CBE12F2-F3C8-4DCE-AD77-5EBD7EED8DBF}" dt="2024-03-24T07:09:47.845" v="5219"/>
          <ac:spMkLst>
            <pc:docMk/>
            <pc:sldMk cId="3951634490" sldId="2147378656"/>
            <ac:spMk id="3" creationId="{27AAFFD7-E4DE-963D-82D0-3AF3BF450E2E}"/>
          </ac:spMkLst>
        </pc:spChg>
        <pc:spChg chg="mod ord">
          <ac:chgData name="Mikami, Maho" userId="50612f1b-df2d-47bb-8fdd-7ddedc83fc7e" providerId="ADAL" clId="{5CBE12F2-F3C8-4DCE-AD77-5EBD7EED8DBF}" dt="2024-03-24T07:09:47.845" v="5221"/>
          <ac:spMkLst>
            <pc:docMk/>
            <pc:sldMk cId="3951634490" sldId="2147378656"/>
            <ac:spMk id="4" creationId="{97632C47-4E90-0A08-0330-788FC6556B77}"/>
          </ac:spMkLst>
        </pc:spChg>
        <pc:spChg chg="del">
          <ac:chgData name="Mikami, Maho" userId="50612f1b-df2d-47bb-8fdd-7ddedc83fc7e" providerId="ADAL" clId="{5CBE12F2-F3C8-4DCE-AD77-5EBD7EED8DBF}" dt="2024-03-24T07:08:34.695" v="5088" actId="478"/>
          <ac:spMkLst>
            <pc:docMk/>
            <pc:sldMk cId="3951634490" sldId="2147378656"/>
            <ac:spMk id="5" creationId="{0CECB229-4ABC-F8C0-6E6C-07AFE9445353}"/>
          </ac:spMkLst>
        </pc:spChg>
        <pc:spChg chg="add mod ord">
          <ac:chgData name="Mikami, Maho" userId="50612f1b-df2d-47bb-8fdd-7ddedc83fc7e" providerId="ADAL" clId="{5CBE12F2-F3C8-4DCE-AD77-5EBD7EED8DBF}" dt="2024-03-24T07:09:50.914" v="5239" actId="555"/>
          <ac:spMkLst>
            <pc:docMk/>
            <pc:sldMk cId="3951634490" sldId="2147378656"/>
            <ac:spMk id="6" creationId="{ECD05FEF-5BB9-2586-5D4A-E54850C0DD29}"/>
          </ac:spMkLst>
        </pc:spChg>
        <pc:spChg chg="mod">
          <ac:chgData name="Mikami, Maho" userId="50612f1b-df2d-47bb-8fdd-7ddedc83fc7e" providerId="ADAL" clId="{5CBE12F2-F3C8-4DCE-AD77-5EBD7EED8DBF}" dt="2024-03-24T07:08:43.961" v="5090" actId="14100"/>
          <ac:spMkLst>
            <pc:docMk/>
            <pc:sldMk cId="3951634490" sldId="2147378656"/>
            <ac:spMk id="10" creationId="{77A7FDF7-6ED3-EFC1-98AF-1E79F1FF95CE}"/>
          </ac:spMkLst>
        </pc:spChg>
        <pc:spChg chg="mod">
          <ac:chgData name="Mikami, Maho" userId="50612f1b-df2d-47bb-8fdd-7ddedc83fc7e" providerId="ADAL" clId="{5CBE12F2-F3C8-4DCE-AD77-5EBD7EED8DBF}" dt="2024-03-24T07:08:47.527" v="5091"/>
          <ac:spMkLst>
            <pc:docMk/>
            <pc:sldMk cId="3951634490" sldId="2147378656"/>
            <ac:spMk id="14" creationId="{60F0D597-C6DB-F131-85A0-AF9E9123CACD}"/>
          </ac:spMkLst>
        </pc:spChg>
        <pc:spChg chg="del">
          <ac:chgData name="Mikami, Maho" userId="50612f1b-df2d-47bb-8fdd-7ddedc83fc7e" providerId="ADAL" clId="{5CBE12F2-F3C8-4DCE-AD77-5EBD7EED8DBF}" dt="2024-03-24T07:09:22.985" v="5188" actId="478"/>
          <ac:spMkLst>
            <pc:docMk/>
            <pc:sldMk cId="3951634490" sldId="2147378656"/>
            <ac:spMk id="16" creationId="{B111BD59-953E-0B8B-B0B5-93E12E362194}"/>
          </ac:spMkLst>
        </pc:spChg>
        <pc:spChg chg="del">
          <ac:chgData name="Mikami, Maho" userId="50612f1b-df2d-47bb-8fdd-7ddedc83fc7e" providerId="ADAL" clId="{5CBE12F2-F3C8-4DCE-AD77-5EBD7EED8DBF}" dt="2024-03-24T07:09:19.400" v="5186" actId="478"/>
          <ac:spMkLst>
            <pc:docMk/>
            <pc:sldMk cId="3951634490" sldId="2147378656"/>
            <ac:spMk id="17" creationId="{319B48F1-54CA-B422-0434-F86118EC72EC}"/>
          </ac:spMkLst>
        </pc:spChg>
        <pc:spChg chg="mod">
          <ac:chgData name="Mikami, Maho" userId="50612f1b-df2d-47bb-8fdd-7ddedc83fc7e" providerId="ADAL" clId="{5CBE12F2-F3C8-4DCE-AD77-5EBD7EED8DBF}" dt="2024-03-24T07:08:54.724" v="5124" actId="20577"/>
          <ac:spMkLst>
            <pc:docMk/>
            <pc:sldMk cId="3951634490" sldId="2147378656"/>
            <ac:spMk id="20" creationId="{ED241F24-5994-A984-CBAB-92BC93B8B90B}"/>
          </ac:spMkLst>
        </pc:spChg>
        <pc:spChg chg="add mod ord">
          <ac:chgData name="Mikami, Maho" userId="50612f1b-df2d-47bb-8fdd-7ddedc83fc7e" providerId="ADAL" clId="{5CBE12F2-F3C8-4DCE-AD77-5EBD7EED8DBF}" dt="2024-03-24T07:09:47.843" v="5215"/>
          <ac:spMkLst>
            <pc:docMk/>
            <pc:sldMk cId="3951634490" sldId="2147378656"/>
            <ac:spMk id="22" creationId="{32403449-2C32-3F47-3E5E-4EBFAB80B6C0}"/>
          </ac:spMkLst>
        </pc:spChg>
        <pc:spChg chg="mod ord">
          <ac:chgData name="Mikami, Maho" userId="50612f1b-df2d-47bb-8fdd-7ddedc83fc7e" providerId="ADAL" clId="{5CBE12F2-F3C8-4DCE-AD77-5EBD7EED8DBF}" dt="2024-03-24T07:09:50.914" v="5239" actId="555"/>
          <ac:spMkLst>
            <pc:docMk/>
            <pc:sldMk cId="3951634490" sldId="2147378656"/>
            <ac:spMk id="23" creationId="{2DF01087-B843-3986-FC18-AF0A33A3EEB2}"/>
          </ac:spMkLst>
        </pc:spChg>
        <pc:spChg chg="del">
          <ac:chgData name="Mikami, Maho" userId="50612f1b-df2d-47bb-8fdd-7ddedc83fc7e" providerId="ADAL" clId="{5CBE12F2-F3C8-4DCE-AD77-5EBD7EED8DBF}" dt="2024-03-24T07:07:48.805" v="4976" actId="21"/>
          <ac:spMkLst>
            <pc:docMk/>
            <pc:sldMk cId="3951634490" sldId="2147378656"/>
            <ac:spMk id="24" creationId="{46C0EAB9-0A7D-E06A-0909-58A3537554E7}"/>
          </ac:spMkLst>
        </pc:spChg>
        <pc:spChg chg="del">
          <ac:chgData name="Mikami, Maho" userId="50612f1b-df2d-47bb-8fdd-7ddedc83fc7e" providerId="ADAL" clId="{5CBE12F2-F3C8-4DCE-AD77-5EBD7EED8DBF}" dt="2024-03-24T07:09:21.039" v="5187" actId="478"/>
          <ac:spMkLst>
            <pc:docMk/>
            <pc:sldMk cId="3951634490" sldId="2147378656"/>
            <ac:spMk id="25" creationId="{37CCBE52-5B92-6AA6-3FF5-71E4933DEF73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27" creationId="{A91311BA-66D9-1457-6651-545F6CB0CD4F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28" creationId="{66B005FB-B744-9C9E-834C-9186E1B84BEC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29" creationId="{1471D3D3-9FEC-45BB-0954-2EF9C2EBD2C4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30" creationId="{76DBDABF-9E8E-BC72-1FA6-42AC6B21EF08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31" creationId="{453E6E6D-0103-7D86-B977-D8EDBD822F53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32" creationId="{E40418D4-FC0F-442A-3084-93F02EF9AF72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33" creationId="{C3A10B9B-D9E0-5CF3-57FC-EAE9AEAA0C56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34" creationId="{0B1880EA-5D2B-C467-23EC-4EC6325A8F25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35" creationId="{DB4787A0-83A8-73B8-E2CA-21D2F1AAD13F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36" creationId="{6440A8CD-0117-2585-262A-16649961D764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37" creationId="{7C4F103C-EF40-9206-3ACE-9206EDB8E4E2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39" creationId="{6BFCDFF4-4FE7-75C4-BB18-FCF2FFAE1D6D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43" creationId="{6B7A7DF3-52E5-275C-7ED0-F4296A581203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44" creationId="{E0E2C81B-2EC6-A207-9D7A-6D7A33C2E5A6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45" creationId="{8998237A-682E-E57A-176B-098CEC1DE8C5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46" creationId="{2B1135C9-6E28-D5EA-5448-74B5F72E4655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47" creationId="{2189590F-124B-055B-0E52-15D3E773C559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48" creationId="{50651086-66EF-85A2-BE91-4B284D16F857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49" creationId="{CFF060FB-4221-7169-8BF2-375956BA6A20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50" creationId="{FB9131A4-F2A2-D6CC-22A9-CD194AB715A7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51" creationId="{AABD1E9C-1810-4306-378B-B3F0BDCFF70A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52" creationId="{01372ADA-4AD6-82BF-C4B7-B38F3387FBF2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56" creationId="{FAF6B21A-ED81-F368-137C-460F4D1D5D68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57" creationId="{600B1258-9D75-0661-D610-D06C2C8D0BDB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58" creationId="{45707E55-66CC-F811-9211-48C36E1049C6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60" creationId="{1AC4BE7E-C85B-F30B-2542-03420560F74A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62" creationId="{52AB8D95-CC5B-10D8-D945-E99AD7D24306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63" creationId="{6483D18F-989B-E612-63F8-818EF354484F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64" creationId="{ED561412-0275-B43B-A8A2-4CE45E7D46BB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65" creationId="{FD61DD0A-BBCB-E0DE-7C7F-23A282697794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72" creationId="{C20FD228-4083-B95C-169C-824CBC763AFA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75" creationId="{9CCD3C11-8AEA-E7D6-08D8-59CFA0D65754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76" creationId="{F2AACB18-172E-25BA-1AC7-E4EA220F27B8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79" creationId="{90C76530-CE44-3580-EEC2-8767634E47FC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80" creationId="{DB0E75F1-7C8E-53BE-F69C-178E89DCA5F0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81" creationId="{759DB322-92AC-45F1-C7F3-80D8562C0F5C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89" creationId="{25361284-C567-9B43-DB16-8CF208437344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90" creationId="{04BF53B3-75B7-35EF-B7E5-0DD91BABBA8D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92" creationId="{5F9867E2-5618-67EB-FFA9-4A6F834304D5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93" creationId="{73BF66BD-C87F-182F-39B0-98117B7E9527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94" creationId="{6158DB6A-560F-6249-AB43-AE5E0EBE3B84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95" creationId="{05A7BD4B-5B89-A6DD-5238-428FF043FDE4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96" creationId="{AA0BDCC3-2308-AB87-9A34-8D2E110C6698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97" creationId="{D170854C-E2F5-502B-CAD2-93C7D63FE6C1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98" creationId="{78F172DE-89B2-E981-55E2-92A2D548EC4A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179" creationId="{92EB8E11-CF98-6845-1EA5-565548819EF8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180" creationId="{B63656EF-DFDD-EAFA-72C6-FE895D600877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181" creationId="{C19578EA-9F00-6AC7-D25F-58F1360D56D9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182" creationId="{DD870EE1-926E-AE22-956D-D0CC543F826D}"/>
          </ac:spMkLst>
        </pc:spChg>
        <pc:spChg chg="mod">
          <ac:chgData name="Mikami, Maho" userId="50612f1b-df2d-47bb-8fdd-7ddedc83fc7e" providerId="ADAL" clId="{5CBE12F2-F3C8-4DCE-AD77-5EBD7EED8DBF}" dt="2024-03-24T07:09:35.949" v="5192"/>
          <ac:spMkLst>
            <pc:docMk/>
            <pc:sldMk cId="3951634490" sldId="2147378656"/>
            <ac:spMk id="183" creationId="{BC1A8C55-F234-5C0E-D7FE-6256BAB4878C}"/>
          </ac:spMkLst>
        </pc:spChg>
        <pc:spChg chg="add mod">
          <ac:chgData name="Mikami, Maho" userId="50612f1b-df2d-47bb-8fdd-7ddedc83fc7e" providerId="ADAL" clId="{5CBE12F2-F3C8-4DCE-AD77-5EBD7EED8DBF}" dt="2024-03-24T07:31:06.412" v="6708"/>
          <ac:spMkLst>
            <pc:docMk/>
            <pc:sldMk cId="3951634490" sldId="2147378656"/>
            <ac:spMk id="184" creationId="{C871CBBD-DD04-92F1-70EC-CFCACF4429E5}"/>
          </ac:spMkLst>
        </pc:spChg>
        <pc:grpChg chg="add mod">
          <ac:chgData name="Mikami, Maho" userId="50612f1b-df2d-47bb-8fdd-7ddedc83fc7e" providerId="ADAL" clId="{5CBE12F2-F3C8-4DCE-AD77-5EBD7EED8DBF}" dt="2024-03-24T07:08:47.527" v="5091"/>
          <ac:grpSpMkLst>
            <pc:docMk/>
            <pc:sldMk cId="3951634490" sldId="2147378656"/>
            <ac:grpSpMk id="7" creationId="{8B0CE52F-7982-8D4C-08A5-A4C8373D303E}"/>
          </ac:grpSpMkLst>
        </pc:grpChg>
        <pc:grpChg chg="del">
          <ac:chgData name="Mikami, Maho" userId="50612f1b-df2d-47bb-8fdd-7ddedc83fc7e" providerId="ADAL" clId="{5CBE12F2-F3C8-4DCE-AD77-5EBD7EED8DBF}" dt="2024-03-24T07:08:39.045" v="5089" actId="478"/>
          <ac:grpSpMkLst>
            <pc:docMk/>
            <pc:sldMk cId="3951634490" sldId="2147378656"/>
            <ac:grpSpMk id="8" creationId="{4C91D19B-6878-5C9B-EC98-52BEFFD2B28D}"/>
          </ac:grpSpMkLst>
        </pc:grpChg>
        <pc:grpChg chg="del mod">
          <ac:chgData name="Mikami, Maho" userId="50612f1b-df2d-47bb-8fdd-7ddedc83fc7e" providerId="ADAL" clId="{5CBE12F2-F3C8-4DCE-AD77-5EBD7EED8DBF}" dt="2024-03-24T07:08:48.905" v="5092" actId="478"/>
          <ac:grpSpMkLst>
            <pc:docMk/>
            <pc:sldMk cId="3951634490" sldId="2147378656"/>
            <ac:grpSpMk id="9" creationId="{2F8E05D5-530D-1B40-FB20-6AD1DE6F8350}"/>
          </ac:grpSpMkLst>
        </pc:grpChg>
        <pc:grpChg chg="add mod">
          <ac:chgData name="Mikami, Maho" userId="50612f1b-df2d-47bb-8fdd-7ddedc83fc7e" providerId="ADAL" clId="{5CBE12F2-F3C8-4DCE-AD77-5EBD7EED8DBF}" dt="2024-03-24T07:09:47.845" v="5224"/>
          <ac:grpSpMkLst>
            <pc:docMk/>
            <pc:sldMk cId="3951634490" sldId="2147378656"/>
            <ac:grpSpMk id="19" creationId="{531FFA07-CD67-13A1-7C31-F3AEBB75109C}"/>
          </ac:grpSpMkLst>
        </pc:grpChg>
        <pc:grpChg chg="add mod ord">
          <ac:chgData name="Mikami, Maho" userId="50612f1b-df2d-47bb-8fdd-7ddedc83fc7e" providerId="ADAL" clId="{5CBE12F2-F3C8-4DCE-AD77-5EBD7EED8DBF}" dt="2024-03-24T07:09:47.845" v="5226"/>
          <ac:grpSpMkLst>
            <pc:docMk/>
            <pc:sldMk cId="3951634490" sldId="2147378656"/>
            <ac:grpSpMk id="26" creationId="{2A268C46-7CC1-1E7B-B4D8-3306515E1FE8}"/>
          </ac:grpSpMkLst>
        </pc:grpChg>
        <pc:grpChg chg="mod">
          <ac:chgData name="Mikami, Maho" userId="50612f1b-df2d-47bb-8fdd-7ddedc83fc7e" providerId="ADAL" clId="{5CBE12F2-F3C8-4DCE-AD77-5EBD7EED8DBF}" dt="2024-03-24T07:09:35.949" v="5192"/>
          <ac:grpSpMkLst>
            <pc:docMk/>
            <pc:sldMk cId="3951634490" sldId="2147378656"/>
            <ac:grpSpMk id="82" creationId="{64EAB550-CE72-0052-5C70-9F717A84C998}"/>
          </ac:grpSpMkLst>
        </pc:grpChg>
        <pc:grpChg chg="mod">
          <ac:chgData name="Mikami, Maho" userId="50612f1b-df2d-47bb-8fdd-7ddedc83fc7e" providerId="ADAL" clId="{5CBE12F2-F3C8-4DCE-AD77-5EBD7EED8DBF}" dt="2024-03-24T07:09:35.949" v="5192"/>
          <ac:grpSpMkLst>
            <pc:docMk/>
            <pc:sldMk cId="3951634490" sldId="2147378656"/>
            <ac:grpSpMk id="83" creationId="{CAC1018F-65C1-5496-06BC-C514EF9A4C0A}"/>
          </ac:grpSpMkLst>
        </pc:grpChg>
        <pc:grpChg chg="del mod">
          <ac:chgData name="Mikami, Maho" userId="50612f1b-df2d-47bb-8fdd-7ddedc83fc7e" providerId="ADAL" clId="{5CBE12F2-F3C8-4DCE-AD77-5EBD7EED8DBF}" dt="2024-03-24T07:09:35.659" v="5191" actId="478"/>
          <ac:grpSpMkLst>
            <pc:docMk/>
            <pc:sldMk cId="3951634490" sldId="2147378656"/>
            <ac:grpSpMk id="100" creationId="{3C2C579C-EF84-52EE-A2A7-31FF21F046A3}"/>
          </ac:grpSpMkLst>
        </pc:grpChg>
        <pc:graphicFrameChg chg="mod">
          <ac:chgData name="Mikami, Maho" userId="50612f1b-df2d-47bb-8fdd-7ddedc83fc7e" providerId="ADAL" clId="{5CBE12F2-F3C8-4DCE-AD77-5EBD7EED8DBF}" dt="2024-03-24T07:09:47.855" v="5232"/>
          <ac:graphicFrameMkLst>
            <pc:docMk/>
            <pc:sldMk cId="3951634490" sldId="2147378656"/>
            <ac:graphicFrameMk id="15" creationId="{497AAB72-542A-2E87-8010-C05BF225E53A}"/>
          </ac:graphicFrameMkLst>
        </pc:graphicFrameChg>
        <pc:cxnChg chg="mod">
          <ac:chgData name="Mikami, Maho" userId="50612f1b-df2d-47bb-8fdd-7ddedc83fc7e" providerId="ADAL" clId="{5CBE12F2-F3C8-4DCE-AD77-5EBD7EED8DBF}" dt="2024-03-24T07:08:43.961" v="5090" actId="14100"/>
          <ac:cxnSpMkLst>
            <pc:docMk/>
            <pc:sldMk cId="3951634490" sldId="2147378656"/>
            <ac:cxnSpMk id="11" creationId="{776D3046-FB6A-E52F-C885-17C6CC9AB992}"/>
          </ac:cxnSpMkLst>
        </pc:cxnChg>
        <pc:cxnChg chg="mod">
          <ac:chgData name="Mikami, Maho" userId="50612f1b-df2d-47bb-8fdd-7ddedc83fc7e" providerId="ADAL" clId="{5CBE12F2-F3C8-4DCE-AD77-5EBD7EED8DBF}" dt="2024-03-24T07:08:47.527" v="5091"/>
          <ac:cxnSpMkLst>
            <pc:docMk/>
            <pc:sldMk cId="3951634490" sldId="2147378656"/>
            <ac:cxnSpMk id="18" creationId="{5060BB38-8AA5-7108-171B-C62D2A85B674}"/>
          </ac:cxnSpMkLst>
        </pc:cxnChg>
        <pc:cxnChg chg="mod">
          <ac:chgData name="Mikami, Maho" userId="50612f1b-df2d-47bb-8fdd-7ddedc83fc7e" providerId="ADAL" clId="{5CBE12F2-F3C8-4DCE-AD77-5EBD7EED8DBF}" dt="2024-03-24T07:08:49.152" v="5093"/>
          <ac:cxnSpMkLst>
            <pc:docMk/>
            <pc:sldMk cId="3951634490" sldId="2147378656"/>
            <ac:cxnSpMk id="21" creationId="{C3408D4A-33CD-AA5E-9E71-BEF28C1226B7}"/>
          </ac:cxnSpMkLst>
        </pc:cxnChg>
        <pc:cxnChg chg="mod">
          <ac:chgData name="Mikami, Maho" userId="50612f1b-df2d-47bb-8fdd-7ddedc83fc7e" providerId="ADAL" clId="{5CBE12F2-F3C8-4DCE-AD77-5EBD7EED8DBF}" dt="2024-03-24T07:09:35.949" v="5192"/>
          <ac:cxnSpMkLst>
            <pc:docMk/>
            <pc:sldMk cId="3951634490" sldId="2147378656"/>
            <ac:cxnSpMk id="38" creationId="{A46AC16B-740D-BCB6-665F-39269259F4FD}"/>
          </ac:cxnSpMkLst>
        </pc:cxnChg>
        <pc:cxnChg chg="mod">
          <ac:chgData name="Mikami, Maho" userId="50612f1b-df2d-47bb-8fdd-7ddedc83fc7e" providerId="ADAL" clId="{5CBE12F2-F3C8-4DCE-AD77-5EBD7EED8DBF}" dt="2024-03-24T07:09:35.949" v="5192"/>
          <ac:cxnSpMkLst>
            <pc:docMk/>
            <pc:sldMk cId="3951634490" sldId="2147378656"/>
            <ac:cxnSpMk id="40" creationId="{27642D03-9A1B-6B2E-7867-0B27B19474C5}"/>
          </ac:cxnSpMkLst>
        </pc:cxnChg>
        <pc:cxnChg chg="mod">
          <ac:chgData name="Mikami, Maho" userId="50612f1b-df2d-47bb-8fdd-7ddedc83fc7e" providerId="ADAL" clId="{5CBE12F2-F3C8-4DCE-AD77-5EBD7EED8DBF}" dt="2024-03-24T07:09:35.949" v="5192"/>
          <ac:cxnSpMkLst>
            <pc:docMk/>
            <pc:sldMk cId="3951634490" sldId="2147378656"/>
            <ac:cxnSpMk id="41" creationId="{432587BF-B822-DD2D-3358-F5A30FC0DB44}"/>
          </ac:cxnSpMkLst>
        </pc:cxnChg>
        <pc:cxnChg chg="mod">
          <ac:chgData name="Mikami, Maho" userId="50612f1b-df2d-47bb-8fdd-7ddedc83fc7e" providerId="ADAL" clId="{5CBE12F2-F3C8-4DCE-AD77-5EBD7EED8DBF}" dt="2024-03-24T07:09:35.949" v="5192"/>
          <ac:cxnSpMkLst>
            <pc:docMk/>
            <pc:sldMk cId="3951634490" sldId="2147378656"/>
            <ac:cxnSpMk id="42" creationId="{D1773E93-6F76-6478-930B-64936732197D}"/>
          </ac:cxnSpMkLst>
        </pc:cxnChg>
        <pc:cxnChg chg="mod">
          <ac:chgData name="Mikami, Maho" userId="50612f1b-df2d-47bb-8fdd-7ddedc83fc7e" providerId="ADAL" clId="{5CBE12F2-F3C8-4DCE-AD77-5EBD7EED8DBF}" dt="2024-03-24T07:09:35.949" v="5192"/>
          <ac:cxnSpMkLst>
            <pc:docMk/>
            <pc:sldMk cId="3951634490" sldId="2147378656"/>
            <ac:cxnSpMk id="53" creationId="{3043CD6D-1236-4FC1-02F1-B88E99439BD7}"/>
          </ac:cxnSpMkLst>
        </pc:cxnChg>
        <pc:cxnChg chg="mod">
          <ac:chgData name="Mikami, Maho" userId="50612f1b-df2d-47bb-8fdd-7ddedc83fc7e" providerId="ADAL" clId="{5CBE12F2-F3C8-4DCE-AD77-5EBD7EED8DBF}" dt="2024-03-24T07:09:35.949" v="5192"/>
          <ac:cxnSpMkLst>
            <pc:docMk/>
            <pc:sldMk cId="3951634490" sldId="2147378656"/>
            <ac:cxnSpMk id="54" creationId="{6518D55F-A0E8-FEE7-37EC-1064A8AC7208}"/>
          </ac:cxnSpMkLst>
        </pc:cxnChg>
        <pc:cxnChg chg="mod">
          <ac:chgData name="Mikami, Maho" userId="50612f1b-df2d-47bb-8fdd-7ddedc83fc7e" providerId="ADAL" clId="{5CBE12F2-F3C8-4DCE-AD77-5EBD7EED8DBF}" dt="2024-03-24T07:09:35.949" v="5192"/>
          <ac:cxnSpMkLst>
            <pc:docMk/>
            <pc:sldMk cId="3951634490" sldId="2147378656"/>
            <ac:cxnSpMk id="55" creationId="{3132F686-2EC5-638E-93EF-6B9CCD3118F6}"/>
          </ac:cxnSpMkLst>
        </pc:cxnChg>
        <pc:cxnChg chg="mod">
          <ac:chgData name="Mikami, Maho" userId="50612f1b-df2d-47bb-8fdd-7ddedc83fc7e" providerId="ADAL" clId="{5CBE12F2-F3C8-4DCE-AD77-5EBD7EED8DBF}" dt="2024-03-24T07:09:35.949" v="5192"/>
          <ac:cxnSpMkLst>
            <pc:docMk/>
            <pc:sldMk cId="3951634490" sldId="2147378656"/>
            <ac:cxnSpMk id="59" creationId="{B71D87FE-5DF6-B386-0F5A-843DA8305802}"/>
          </ac:cxnSpMkLst>
        </pc:cxnChg>
        <pc:cxnChg chg="mod">
          <ac:chgData name="Mikami, Maho" userId="50612f1b-df2d-47bb-8fdd-7ddedc83fc7e" providerId="ADAL" clId="{5CBE12F2-F3C8-4DCE-AD77-5EBD7EED8DBF}" dt="2024-03-24T07:09:35.949" v="5192"/>
          <ac:cxnSpMkLst>
            <pc:docMk/>
            <pc:sldMk cId="3951634490" sldId="2147378656"/>
            <ac:cxnSpMk id="61" creationId="{7E8AEF8A-15CB-9E9E-5547-13F82DF6BD31}"/>
          </ac:cxnSpMkLst>
        </pc:cxnChg>
        <pc:cxnChg chg="mod">
          <ac:chgData name="Mikami, Maho" userId="50612f1b-df2d-47bb-8fdd-7ddedc83fc7e" providerId="ADAL" clId="{5CBE12F2-F3C8-4DCE-AD77-5EBD7EED8DBF}" dt="2024-03-24T07:09:35.949" v="5192"/>
          <ac:cxnSpMkLst>
            <pc:docMk/>
            <pc:sldMk cId="3951634490" sldId="2147378656"/>
            <ac:cxnSpMk id="66" creationId="{646798A6-A9EC-2986-1AAC-6CDF5FDE565D}"/>
          </ac:cxnSpMkLst>
        </pc:cxnChg>
        <pc:cxnChg chg="mod">
          <ac:chgData name="Mikami, Maho" userId="50612f1b-df2d-47bb-8fdd-7ddedc83fc7e" providerId="ADAL" clId="{5CBE12F2-F3C8-4DCE-AD77-5EBD7EED8DBF}" dt="2024-03-24T07:09:35.949" v="5192"/>
          <ac:cxnSpMkLst>
            <pc:docMk/>
            <pc:sldMk cId="3951634490" sldId="2147378656"/>
            <ac:cxnSpMk id="67" creationId="{DBB52986-355E-AFC5-8181-CAE6418BCF3B}"/>
          </ac:cxnSpMkLst>
        </pc:cxnChg>
        <pc:cxnChg chg="mod">
          <ac:chgData name="Mikami, Maho" userId="50612f1b-df2d-47bb-8fdd-7ddedc83fc7e" providerId="ADAL" clId="{5CBE12F2-F3C8-4DCE-AD77-5EBD7EED8DBF}" dt="2024-03-24T07:09:35.949" v="5192"/>
          <ac:cxnSpMkLst>
            <pc:docMk/>
            <pc:sldMk cId="3951634490" sldId="2147378656"/>
            <ac:cxnSpMk id="68" creationId="{DA13DE7E-935D-A1E9-0F54-1DE0A4EE725D}"/>
          </ac:cxnSpMkLst>
        </pc:cxnChg>
        <pc:cxnChg chg="mod">
          <ac:chgData name="Mikami, Maho" userId="50612f1b-df2d-47bb-8fdd-7ddedc83fc7e" providerId="ADAL" clId="{5CBE12F2-F3C8-4DCE-AD77-5EBD7EED8DBF}" dt="2024-03-24T07:09:35.949" v="5192"/>
          <ac:cxnSpMkLst>
            <pc:docMk/>
            <pc:sldMk cId="3951634490" sldId="2147378656"/>
            <ac:cxnSpMk id="69" creationId="{B8F213A3-F36B-331A-E7BE-3F543D34252B}"/>
          </ac:cxnSpMkLst>
        </pc:cxnChg>
        <pc:cxnChg chg="mod">
          <ac:chgData name="Mikami, Maho" userId="50612f1b-df2d-47bb-8fdd-7ddedc83fc7e" providerId="ADAL" clId="{5CBE12F2-F3C8-4DCE-AD77-5EBD7EED8DBF}" dt="2024-03-24T07:09:35.949" v="5192"/>
          <ac:cxnSpMkLst>
            <pc:docMk/>
            <pc:sldMk cId="3951634490" sldId="2147378656"/>
            <ac:cxnSpMk id="70" creationId="{3325AB34-CE4B-0818-4E52-577F14382E2A}"/>
          </ac:cxnSpMkLst>
        </pc:cxnChg>
        <pc:cxnChg chg="mod">
          <ac:chgData name="Mikami, Maho" userId="50612f1b-df2d-47bb-8fdd-7ddedc83fc7e" providerId="ADAL" clId="{5CBE12F2-F3C8-4DCE-AD77-5EBD7EED8DBF}" dt="2024-03-24T07:09:35.949" v="5192"/>
          <ac:cxnSpMkLst>
            <pc:docMk/>
            <pc:sldMk cId="3951634490" sldId="2147378656"/>
            <ac:cxnSpMk id="71" creationId="{4E3FE32A-6743-C9E3-6FCA-165B0D9C1788}"/>
          </ac:cxnSpMkLst>
        </pc:cxnChg>
        <pc:cxnChg chg="mod">
          <ac:chgData name="Mikami, Maho" userId="50612f1b-df2d-47bb-8fdd-7ddedc83fc7e" providerId="ADAL" clId="{5CBE12F2-F3C8-4DCE-AD77-5EBD7EED8DBF}" dt="2024-03-24T07:09:35.949" v="5192"/>
          <ac:cxnSpMkLst>
            <pc:docMk/>
            <pc:sldMk cId="3951634490" sldId="2147378656"/>
            <ac:cxnSpMk id="73" creationId="{080B3C99-B7DB-F548-5108-0940C032D1F6}"/>
          </ac:cxnSpMkLst>
        </pc:cxnChg>
        <pc:cxnChg chg="mod">
          <ac:chgData name="Mikami, Maho" userId="50612f1b-df2d-47bb-8fdd-7ddedc83fc7e" providerId="ADAL" clId="{5CBE12F2-F3C8-4DCE-AD77-5EBD7EED8DBF}" dt="2024-03-24T07:09:35.949" v="5192"/>
          <ac:cxnSpMkLst>
            <pc:docMk/>
            <pc:sldMk cId="3951634490" sldId="2147378656"/>
            <ac:cxnSpMk id="74" creationId="{44A98B03-184F-C43E-9E4F-01D9306C3E25}"/>
          </ac:cxnSpMkLst>
        </pc:cxnChg>
        <pc:cxnChg chg="mod">
          <ac:chgData name="Mikami, Maho" userId="50612f1b-df2d-47bb-8fdd-7ddedc83fc7e" providerId="ADAL" clId="{5CBE12F2-F3C8-4DCE-AD77-5EBD7EED8DBF}" dt="2024-03-24T07:09:35.949" v="5192"/>
          <ac:cxnSpMkLst>
            <pc:docMk/>
            <pc:sldMk cId="3951634490" sldId="2147378656"/>
            <ac:cxnSpMk id="77" creationId="{6B63EFF2-A85A-26EF-DC4A-122DAB553BE8}"/>
          </ac:cxnSpMkLst>
        </pc:cxnChg>
        <pc:cxnChg chg="mod">
          <ac:chgData name="Mikami, Maho" userId="50612f1b-df2d-47bb-8fdd-7ddedc83fc7e" providerId="ADAL" clId="{5CBE12F2-F3C8-4DCE-AD77-5EBD7EED8DBF}" dt="2024-03-24T07:09:35.949" v="5192"/>
          <ac:cxnSpMkLst>
            <pc:docMk/>
            <pc:sldMk cId="3951634490" sldId="2147378656"/>
            <ac:cxnSpMk id="78" creationId="{3EDB85E2-277C-4AC6-8D17-DDEEFE3861AF}"/>
          </ac:cxnSpMkLst>
        </pc:cxnChg>
        <pc:cxnChg chg="mod">
          <ac:chgData name="Mikami, Maho" userId="50612f1b-df2d-47bb-8fdd-7ddedc83fc7e" providerId="ADAL" clId="{5CBE12F2-F3C8-4DCE-AD77-5EBD7EED8DBF}" dt="2024-03-24T07:09:35.949" v="5192"/>
          <ac:cxnSpMkLst>
            <pc:docMk/>
            <pc:sldMk cId="3951634490" sldId="2147378656"/>
            <ac:cxnSpMk id="84" creationId="{3FC44261-846E-82FE-095A-7092DC1BFBAE}"/>
          </ac:cxnSpMkLst>
        </pc:cxnChg>
        <pc:cxnChg chg="mod">
          <ac:chgData name="Mikami, Maho" userId="50612f1b-df2d-47bb-8fdd-7ddedc83fc7e" providerId="ADAL" clId="{5CBE12F2-F3C8-4DCE-AD77-5EBD7EED8DBF}" dt="2024-03-24T07:09:35.949" v="5192"/>
          <ac:cxnSpMkLst>
            <pc:docMk/>
            <pc:sldMk cId="3951634490" sldId="2147378656"/>
            <ac:cxnSpMk id="85" creationId="{8FE4B113-03B8-62AA-2138-D501424F3DD1}"/>
          </ac:cxnSpMkLst>
        </pc:cxnChg>
        <pc:cxnChg chg="mod">
          <ac:chgData name="Mikami, Maho" userId="50612f1b-df2d-47bb-8fdd-7ddedc83fc7e" providerId="ADAL" clId="{5CBE12F2-F3C8-4DCE-AD77-5EBD7EED8DBF}" dt="2024-03-24T07:09:35.949" v="5192"/>
          <ac:cxnSpMkLst>
            <pc:docMk/>
            <pc:sldMk cId="3951634490" sldId="2147378656"/>
            <ac:cxnSpMk id="86" creationId="{469AAB49-8A30-1A7C-B3DD-0362C2A42850}"/>
          </ac:cxnSpMkLst>
        </pc:cxnChg>
        <pc:cxnChg chg="mod">
          <ac:chgData name="Mikami, Maho" userId="50612f1b-df2d-47bb-8fdd-7ddedc83fc7e" providerId="ADAL" clId="{5CBE12F2-F3C8-4DCE-AD77-5EBD7EED8DBF}" dt="2024-03-24T07:09:35.949" v="5192"/>
          <ac:cxnSpMkLst>
            <pc:docMk/>
            <pc:sldMk cId="3951634490" sldId="2147378656"/>
            <ac:cxnSpMk id="87" creationId="{132DE9F0-92F6-D2A0-9CC3-AA170A26F7DD}"/>
          </ac:cxnSpMkLst>
        </pc:cxnChg>
        <pc:cxnChg chg="mod">
          <ac:chgData name="Mikami, Maho" userId="50612f1b-df2d-47bb-8fdd-7ddedc83fc7e" providerId="ADAL" clId="{5CBE12F2-F3C8-4DCE-AD77-5EBD7EED8DBF}" dt="2024-03-24T07:09:35.949" v="5192"/>
          <ac:cxnSpMkLst>
            <pc:docMk/>
            <pc:sldMk cId="3951634490" sldId="2147378656"/>
            <ac:cxnSpMk id="88" creationId="{210A4FCE-F3DD-9407-338B-2121E756D46A}"/>
          </ac:cxnSpMkLst>
        </pc:cxnChg>
        <pc:cxnChg chg="mod">
          <ac:chgData name="Mikami, Maho" userId="50612f1b-df2d-47bb-8fdd-7ddedc83fc7e" providerId="ADAL" clId="{5CBE12F2-F3C8-4DCE-AD77-5EBD7EED8DBF}" dt="2024-03-24T07:09:35.949" v="5192"/>
          <ac:cxnSpMkLst>
            <pc:docMk/>
            <pc:sldMk cId="3951634490" sldId="2147378656"/>
            <ac:cxnSpMk id="91" creationId="{D8B69989-CBF5-5A4A-88AE-6EC78F982456}"/>
          </ac:cxnSpMkLst>
        </pc:cxnChg>
        <pc:cxnChg chg="mod">
          <ac:chgData name="Mikami, Maho" userId="50612f1b-df2d-47bb-8fdd-7ddedc83fc7e" providerId="ADAL" clId="{5CBE12F2-F3C8-4DCE-AD77-5EBD7EED8DBF}" dt="2024-03-24T07:09:35.949" v="5192"/>
          <ac:cxnSpMkLst>
            <pc:docMk/>
            <pc:sldMk cId="3951634490" sldId="2147378656"/>
            <ac:cxnSpMk id="99" creationId="{27EFB939-FCA2-B352-C890-BAE4701310C9}"/>
          </ac:cxnSpMkLst>
        </pc:cxnChg>
        <pc:cxnChg chg="mod">
          <ac:chgData name="Mikami, Maho" userId="50612f1b-df2d-47bb-8fdd-7ddedc83fc7e" providerId="ADAL" clId="{5CBE12F2-F3C8-4DCE-AD77-5EBD7EED8DBF}" dt="2024-03-24T07:09:35.659" v="5191" actId="478"/>
          <ac:cxnSpMkLst>
            <pc:docMk/>
            <pc:sldMk cId="3951634490" sldId="2147378656"/>
            <ac:cxnSpMk id="112" creationId="{0F67F629-9F8F-28BB-33D1-42CA13F00F71}"/>
          </ac:cxnSpMkLst>
        </pc:cxnChg>
        <pc:cxnChg chg="mod">
          <ac:chgData name="Mikami, Maho" userId="50612f1b-df2d-47bb-8fdd-7ddedc83fc7e" providerId="ADAL" clId="{5CBE12F2-F3C8-4DCE-AD77-5EBD7EED8DBF}" dt="2024-03-24T07:09:35.659" v="5191" actId="478"/>
          <ac:cxnSpMkLst>
            <pc:docMk/>
            <pc:sldMk cId="3951634490" sldId="2147378656"/>
            <ac:cxnSpMk id="114" creationId="{4C0226DF-ABFD-1899-EDAE-642E8EAC593F}"/>
          </ac:cxnSpMkLst>
        </pc:cxnChg>
        <pc:cxnChg chg="mod">
          <ac:chgData name="Mikami, Maho" userId="50612f1b-df2d-47bb-8fdd-7ddedc83fc7e" providerId="ADAL" clId="{5CBE12F2-F3C8-4DCE-AD77-5EBD7EED8DBF}" dt="2024-03-24T07:09:35.659" v="5191" actId="478"/>
          <ac:cxnSpMkLst>
            <pc:docMk/>
            <pc:sldMk cId="3951634490" sldId="2147378656"/>
            <ac:cxnSpMk id="115" creationId="{327623DB-8BB9-2476-C56F-B9CA1FCBDDB5}"/>
          </ac:cxnSpMkLst>
        </pc:cxnChg>
        <pc:cxnChg chg="mod">
          <ac:chgData name="Mikami, Maho" userId="50612f1b-df2d-47bb-8fdd-7ddedc83fc7e" providerId="ADAL" clId="{5CBE12F2-F3C8-4DCE-AD77-5EBD7EED8DBF}" dt="2024-03-24T07:09:35.659" v="5191" actId="478"/>
          <ac:cxnSpMkLst>
            <pc:docMk/>
            <pc:sldMk cId="3951634490" sldId="2147378656"/>
            <ac:cxnSpMk id="116" creationId="{32370B6C-77F1-BCD5-DCB6-D8FFC20E5059}"/>
          </ac:cxnSpMkLst>
        </pc:cxnChg>
        <pc:cxnChg chg="mod">
          <ac:chgData name="Mikami, Maho" userId="50612f1b-df2d-47bb-8fdd-7ddedc83fc7e" providerId="ADAL" clId="{5CBE12F2-F3C8-4DCE-AD77-5EBD7EED8DBF}" dt="2024-03-24T07:09:35.659" v="5191" actId="478"/>
          <ac:cxnSpMkLst>
            <pc:docMk/>
            <pc:sldMk cId="3951634490" sldId="2147378656"/>
            <ac:cxnSpMk id="127" creationId="{5BB1FE41-F439-1E9A-046C-4275DF01D8A6}"/>
          </ac:cxnSpMkLst>
        </pc:cxnChg>
        <pc:cxnChg chg="mod">
          <ac:chgData name="Mikami, Maho" userId="50612f1b-df2d-47bb-8fdd-7ddedc83fc7e" providerId="ADAL" clId="{5CBE12F2-F3C8-4DCE-AD77-5EBD7EED8DBF}" dt="2024-03-24T07:09:35.659" v="5191" actId="478"/>
          <ac:cxnSpMkLst>
            <pc:docMk/>
            <pc:sldMk cId="3951634490" sldId="2147378656"/>
            <ac:cxnSpMk id="128" creationId="{464C7858-59AE-DBEA-AA58-240844ACD8DA}"/>
          </ac:cxnSpMkLst>
        </pc:cxnChg>
        <pc:cxnChg chg="mod">
          <ac:chgData name="Mikami, Maho" userId="50612f1b-df2d-47bb-8fdd-7ddedc83fc7e" providerId="ADAL" clId="{5CBE12F2-F3C8-4DCE-AD77-5EBD7EED8DBF}" dt="2024-03-24T07:09:35.659" v="5191" actId="478"/>
          <ac:cxnSpMkLst>
            <pc:docMk/>
            <pc:sldMk cId="3951634490" sldId="2147378656"/>
            <ac:cxnSpMk id="129" creationId="{1E1EAFE8-067D-CFBD-2B29-8B95DB444FEA}"/>
          </ac:cxnSpMkLst>
        </pc:cxnChg>
        <pc:cxnChg chg="mod">
          <ac:chgData name="Mikami, Maho" userId="50612f1b-df2d-47bb-8fdd-7ddedc83fc7e" providerId="ADAL" clId="{5CBE12F2-F3C8-4DCE-AD77-5EBD7EED8DBF}" dt="2024-03-24T07:09:35.659" v="5191" actId="478"/>
          <ac:cxnSpMkLst>
            <pc:docMk/>
            <pc:sldMk cId="3951634490" sldId="2147378656"/>
            <ac:cxnSpMk id="133" creationId="{0358801D-1B0B-8E97-7925-1EF2B6B903F5}"/>
          </ac:cxnSpMkLst>
        </pc:cxnChg>
        <pc:cxnChg chg="mod">
          <ac:chgData name="Mikami, Maho" userId="50612f1b-df2d-47bb-8fdd-7ddedc83fc7e" providerId="ADAL" clId="{5CBE12F2-F3C8-4DCE-AD77-5EBD7EED8DBF}" dt="2024-03-24T07:09:35.659" v="5191" actId="478"/>
          <ac:cxnSpMkLst>
            <pc:docMk/>
            <pc:sldMk cId="3951634490" sldId="2147378656"/>
            <ac:cxnSpMk id="135" creationId="{F88AC785-ED08-A13A-E004-D3BD7551E3BD}"/>
          </ac:cxnSpMkLst>
        </pc:cxnChg>
        <pc:cxnChg chg="mod">
          <ac:chgData name="Mikami, Maho" userId="50612f1b-df2d-47bb-8fdd-7ddedc83fc7e" providerId="ADAL" clId="{5CBE12F2-F3C8-4DCE-AD77-5EBD7EED8DBF}" dt="2024-03-24T07:09:35.659" v="5191" actId="478"/>
          <ac:cxnSpMkLst>
            <pc:docMk/>
            <pc:sldMk cId="3951634490" sldId="2147378656"/>
            <ac:cxnSpMk id="140" creationId="{18A59383-C3A3-9506-97FD-3AB4EADCC35C}"/>
          </ac:cxnSpMkLst>
        </pc:cxnChg>
        <pc:cxnChg chg="mod">
          <ac:chgData name="Mikami, Maho" userId="50612f1b-df2d-47bb-8fdd-7ddedc83fc7e" providerId="ADAL" clId="{5CBE12F2-F3C8-4DCE-AD77-5EBD7EED8DBF}" dt="2024-03-24T07:09:35.659" v="5191" actId="478"/>
          <ac:cxnSpMkLst>
            <pc:docMk/>
            <pc:sldMk cId="3951634490" sldId="2147378656"/>
            <ac:cxnSpMk id="141" creationId="{FD8445C2-6082-89D3-F0D7-0B04B2F426E1}"/>
          </ac:cxnSpMkLst>
        </pc:cxnChg>
        <pc:cxnChg chg="mod">
          <ac:chgData name="Mikami, Maho" userId="50612f1b-df2d-47bb-8fdd-7ddedc83fc7e" providerId="ADAL" clId="{5CBE12F2-F3C8-4DCE-AD77-5EBD7EED8DBF}" dt="2024-03-24T07:09:35.659" v="5191" actId="478"/>
          <ac:cxnSpMkLst>
            <pc:docMk/>
            <pc:sldMk cId="3951634490" sldId="2147378656"/>
            <ac:cxnSpMk id="142" creationId="{E56F7142-3D44-9E40-28EF-2661B6E81EA6}"/>
          </ac:cxnSpMkLst>
        </pc:cxnChg>
        <pc:cxnChg chg="mod">
          <ac:chgData name="Mikami, Maho" userId="50612f1b-df2d-47bb-8fdd-7ddedc83fc7e" providerId="ADAL" clId="{5CBE12F2-F3C8-4DCE-AD77-5EBD7EED8DBF}" dt="2024-03-24T07:09:35.659" v="5191" actId="478"/>
          <ac:cxnSpMkLst>
            <pc:docMk/>
            <pc:sldMk cId="3951634490" sldId="2147378656"/>
            <ac:cxnSpMk id="143" creationId="{6955C92D-F6AB-7F91-93A6-DA2422861AE7}"/>
          </ac:cxnSpMkLst>
        </pc:cxnChg>
        <pc:cxnChg chg="mod">
          <ac:chgData name="Mikami, Maho" userId="50612f1b-df2d-47bb-8fdd-7ddedc83fc7e" providerId="ADAL" clId="{5CBE12F2-F3C8-4DCE-AD77-5EBD7EED8DBF}" dt="2024-03-24T07:09:35.659" v="5191" actId="478"/>
          <ac:cxnSpMkLst>
            <pc:docMk/>
            <pc:sldMk cId="3951634490" sldId="2147378656"/>
            <ac:cxnSpMk id="144" creationId="{DEE2D119-DB86-73F7-DFC2-EC83EF6A9BD8}"/>
          </ac:cxnSpMkLst>
        </pc:cxnChg>
        <pc:cxnChg chg="mod">
          <ac:chgData name="Mikami, Maho" userId="50612f1b-df2d-47bb-8fdd-7ddedc83fc7e" providerId="ADAL" clId="{5CBE12F2-F3C8-4DCE-AD77-5EBD7EED8DBF}" dt="2024-03-24T07:09:35.659" v="5191" actId="478"/>
          <ac:cxnSpMkLst>
            <pc:docMk/>
            <pc:sldMk cId="3951634490" sldId="2147378656"/>
            <ac:cxnSpMk id="145" creationId="{2A87E2CB-662F-461F-DD22-21E52B11690B}"/>
          </ac:cxnSpMkLst>
        </pc:cxnChg>
        <pc:cxnChg chg="mod">
          <ac:chgData name="Mikami, Maho" userId="50612f1b-df2d-47bb-8fdd-7ddedc83fc7e" providerId="ADAL" clId="{5CBE12F2-F3C8-4DCE-AD77-5EBD7EED8DBF}" dt="2024-03-24T07:09:35.659" v="5191" actId="478"/>
          <ac:cxnSpMkLst>
            <pc:docMk/>
            <pc:sldMk cId="3951634490" sldId="2147378656"/>
            <ac:cxnSpMk id="147" creationId="{767CCADA-B015-13E3-A3E7-D94DA637D967}"/>
          </ac:cxnSpMkLst>
        </pc:cxnChg>
        <pc:cxnChg chg="mod">
          <ac:chgData name="Mikami, Maho" userId="50612f1b-df2d-47bb-8fdd-7ddedc83fc7e" providerId="ADAL" clId="{5CBE12F2-F3C8-4DCE-AD77-5EBD7EED8DBF}" dt="2024-03-24T07:09:35.659" v="5191" actId="478"/>
          <ac:cxnSpMkLst>
            <pc:docMk/>
            <pc:sldMk cId="3951634490" sldId="2147378656"/>
            <ac:cxnSpMk id="148" creationId="{C70CEA9E-4A96-855C-B2C7-A7EC47BA1D6E}"/>
          </ac:cxnSpMkLst>
        </pc:cxnChg>
        <pc:cxnChg chg="mod">
          <ac:chgData name="Mikami, Maho" userId="50612f1b-df2d-47bb-8fdd-7ddedc83fc7e" providerId="ADAL" clId="{5CBE12F2-F3C8-4DCE-AD77-5EBD7EED8DBF}" dt="2024-03-24T07:09:35.659" v="5191" actId="478"/>
          <ac:cxnSpMkLst>
            <pc:docMk/>
            <pc:sldMk cId="3951634490" sldId="2147378656"/>
            <ac:cxnSpMk id="151" creationId="{4ABAF1AA-9396-E5E8-920E-14E56F393464}"/>
          </ac:cxnSpMkLst>
        </pc:cxnChg>
        <pc:cxnChg chg="mod">
          <ac:chgData name="Mikami, Maho" userId="50612f1b-df2d-47bb-8fdd-7ddedc83fc7e" providerId="ADAL" clId="{5CBE12F2-F3C8-4DCE-AD77-5EBD7EED8DBF}" dt="2024-03-24T07:09:35.659" v="5191" actId="478"/>
          <ac:cxnSpMkLst>
            <pc:docMk/>
            <pc:sldMk cId="3951634490" sldId="2147378656"/>
            <ac:cxnSpMk id="152" creationId="{0755D905-C564-AE4C-A517-F14FB09CDA80}"/>
          </ac:cxnSpMkLst>
        </pc:cxnChg>
        <pc:cxnChg chg="mod">
          <ac:chgData name="Mikami, Maho" userId="50612f1b-df2d-47bb-8fdd-7ddedc83fc7e" providerId="ADAL" clId="{5CBE12F2-F3C8-4DCE-AD77-5EBD7EED8DBF}" dt="2024-03-24T07:09:35.659" v="5191" actId="478"/>
          <ac:cxnSpMkLst>
            <pc:docMk/>
            <pc:sldMk cId="3951634490" sldId="2147378656"/>
            <ac:cxnSpMk id="158" creationId="{3D473A2E-9F10-FB82-DEAC-8F93AB210DA6}"/>
          </ac:cxnSpMkLst>
        </pc:cxnChg>
        <pc:cxnChg chg="mod">
          <ac:chgData name="Mikami, Maho" userId="50612f1b-df2d-47bb-8fdd-7ddedc83fc7e" providerId="ADAL" clId="{5CBE12F2-F3C8-4DCE-AD77-5EBD7EED8DBF}" dt="2024-03-24T07:09:35.659" v="5191" actId="478"/>
          <ac:cxnSpMkLst>
            <pc:docMk/>
            <pc:sldMk cId="3951634490" sldId="2147378656"/>
            <ac:cxnSpMk id="159" creationId="{BA927C1C-F26F-B06D-84E1-0918E6961409}"/>
          </ac:cxnSpMkLst>
        </pc:cxnChg>
        <pc:cxnChg chg="mod">
          <ac:chgData name="Mikami, Maho" userId="50612f1b-df2d-47bb-8fdd-7ddedc83fc7e" providerId="ADAL" clId="{5CBE12F2-F3C8-4DCE-AD77-5EBD7EED8DBF}" dt="2024-03-24T07:09:35.659" v="5191" actId="478"/>
          <ac:cxnSpMkLst>
            <pc:docMk/>
            <pc:sldMk cId="3951634490" sldId="2147378656"/>
            <ac:cxnSpMk id="160" creationId="{71C8D810-E1EC-444B-9EDB-5B6379DE0F34}"/>
          </ac:cxnSpMkLst>
        </pc:cxnChg>
        <pc:cxnChg chg="mod">
          <ac:chgData name="Mikami, Maho" userId="50612f1b-df2d-47bb-8fdd-7ddedc83fc7e" providerId="ADAL" clId="{5CBE12F2-F3C8-4DCE-AD77-5EBD7EED8DBF}" dt="2024-03-24T07:09:35.659" v="5191" actId="478"/>
          <ac:cxnSpMkLst>
            <pc:docMk/>
            <pc:sldMk cId="3951634490" sldId="2147378656"/>
            <ac:cxnSpMk id="161" creationId="{74EDB77A-5059-F50A-AF78-3C1237232ABF}"/>
          </ac:cxnSpMkLst>
        </pc:cxnChg>
        <pc:cxnChg chg="mod">
          <ac:chgData name="Mikami, Maho" userId="50612f1b-df2d-47bb-8fdd-7ddedc83fc7e" providerId="ADAL" clId="{5CBE12F2-F3C8-4DCE-AD77-5EBD7EED8DBF}" dt="2024-03-24T07:09:35.659" v="5191" actId="478"/>
          <ac:cxnSpMkLst>
            <pc:docMk/>
            <pc:sldMk cId="3951634490" sldId="2147378656"/>
            <ac:cxnSpMk id="162" creationId="{CCBE14F6-1B60-F177-F682-D3FBEA3D5093}"/>
          </ac:cxnSpMkLst>
        </pc:cxnChg>
        <pc:cxnChg chg="mod">
          <ac:chgData name="Mikami, Maho" userId="50612f1b-df2d-47bb-8fdd-7ddedc83fc7e" providerId="ADAL" clId="{5CBE12F2-F3C8-4DCE-AD77-5EBD7EED8DBF}" dt="2024-03-24T07:09:35.659" v="5191" actId="478"/>
          <ac:cxnSpMkLst>
            <pc:docMk/>
            <pc:sldMk cId="3951634490" sldId="2147378656"/>
            <ac:cxnSpMk id="165" creationId="{8468F8EA-90B6-332B-6916-E4B62F0FBF20}"/>
          </ac:cxnSpMkLst>
        </pc:cxnChg>
      </pc:sldChg>
      <pc:sldMasterChg chg="addSp delSp modSp del mod delSldLayout">
        <pc:chgData name="Mikami, Maho" userId="50612f1b-df2d-47bb-8fdd-7ddedc83fc7e" providerId="ADAL" clId="{5CBE12F2-F3C8-4DCE-AD77-5EBD7EED8DBF}" dt="2024-03-24T06:28:39.548" v="4353" actId="47"/>
        <pc:sldMasterMkLst>
          <pc:docMk/>
          <pc:sldMasterMk cId="2847476743" sldId="2147483808"/>
        </pc:sldMasterMkLst>
        <pc:spChg chg="mod">
          <ac:chgData name="Mikami, Maho" userId="50612f1b-df2d-47bb-8fdd-7ddedc83fc7e" providerId="ADAL" clId="{5CBE12F2-F3C8-4DCE-AD77-5EBD7EED8DBF}" dt="2024-03-24T06:28:26.055" v="4290" actId="948"/>
          <ac:spMkLst>
            <pc:docMk/>
            <pc:sldMasterMk cId="2847476743" sldId="2147483808"/>
            <ac:spMk id="2" creationId="{6A403843-73BC-6D9E-DF0B-DAB675643356}"/>
          </ac:spMkLst>
        </pc:spChg>
        <pc:spChg chg="add del mod modVis">
          <ac:chgData name="Mikami, Maho" userId="50612f1b-df2d-47bb-8fdd-7ddedc83fc7e" providerId="ADAL" clId="{5CBE12F2-F3C8-4DCE-AD77-5EBD7EED8DBF}" dt="2024-03-24T06:28:26.119" v="4330"/>
          <ac:spMkLst>
            <pc:docMk/>
            <pc:sldMasterMk cId="2847476743" sldId="2147483808"/>
            <ac:spMk id="7" creationId="{C3FEF945-F99C-45A2-9317-E5DF46C08853}"/>
          </ac:spMkLst>
        </pc:spChg>
        <pc:graphicFrameChg chg="add mod ord modVis replST">
          <ac:chgData name="Mikami, Maho" userId="50612f1b-df2d-47bb-8fdd-7ddedc83fc7e" providerId="ADAL" clId="{5CBE12F2-F3C8-4DCE-AD77-5EBD7EED8DBF}" dt="2024-03-24T06:28:26.165" v="4345"/>
          <ac:graphicFrameMkLst>
            <pc:docMk/>
            <pc:sldMasterMk cId="2847476743" sldId="2147483808"/>
            <ac:graphicFrameMk id="8" creationId="{0DD5B8D1-61C6-B637-30F4-E43871C89764}"/>
          </ac:graphicFrameMkLst>
        </pc:graphicFrameChg>
        <pc:sldLayoutChg chg="del">
          <pc:chgData name="Mikami, Maho" userId="50612f1b-df2d-47bb-8fdd-7ddedc83fc7e" providerId="ADAL" clId="{5CBE12F2-F3C8-4DCE-AD77-5EBD7EED8DBF}" dt="2024-03-24T06:28:39.548" v="4353" actId="47"/>
          <pc:sldLayoutMkLst>
            <pc:docMk/>
            <pc:sldMasterMk cId="2847476743" sldId="2147483808"/>
            <pc:sldLayoutMk cId="1076454438" sldId="2147483809"/>
          </pc:sldLayoutMkLst>
        </pc:sldLayoutChg>
        <pc:sldLayoutChg chg="del">
          <pc:chgData name="Mikami, Maho" userId="50612f1b-df2d-47bb-8fdd-7ddedc83fc7e" providerId="ADAL" clId="{5CBE12F2-F3C8-4DCE-AD77-5EBD7EED8DBF}" dt="2024-03-24T06:28:39.548" v="4353" actId="47"/>
          <pc:sldLayoutMkLst>
            <pc:docMk/>
            <pc:sldMasterMk cId="2847476743" sldId="2147483808"/>
            <pc:sldLayoutMk cId="2334513542" sldId="2147483810"/>
          </pc:sldLayoutMkLst>
        </pc:sldLayoutChg>
        <pc:sldLayoutChg chg="del">
          <pc:chgData name="Mikami, Maho" userId="50612f1b-df2d-47bb-8fdd-7ddedc83fc7e" providerId="ADAL" clId="{5CBE12F2-F3C8-4DCE-AD77-5EBD7EED8DBF}" dt="2024-03-24T06:28:39.548" v="4353" actId="47"/>
          <pc:sldLayoutMkLst>
            <pc:docMk/>
            <pc:sldMasterMk cId="2847476743" sldId="2147483808"/>
            <pc:sldLayoutMk cId="1467277765" sldId="2147483811"/>
          </pc:sldLayoutMkLst>
        </pc:sldLayoutChg>
        <pc:sldLayoutChg chg="del">
          <pc:chgData name="Mikami, Maho" userId="50612f1b-df2d-47bb-8fdd-7ddedc83fc7e" providerId="ADAL" clId="{5CBE12F2-F3C8-4DCE-AD77-5EBD7EED8DBF}" dt="2024-03-24T06:28:39.548" v="4353" actId="47"/>
          <pc:sldLayoutMkLst>
            <pc:docMk/>
            <pc:sldMasterMk cId="2847476743" sldId="2147483808"/>
            <pc:sldLayoutMk cId="3604748968" sldId="2147483812"/>
          </pc:sldLayoutMkLst>
        </pc:sldLayoutChg>
        <pc:sldLayoutChg chg="del">
          <pc:chgData name="Mikami, Maho" userId="50612f1b-df2d-47bb-8fdd-7ddedc83fc7e" providerId="ADAL" clId="{5CBE12F2-F3C8-4DCE-AD77-5EBD7EED8DBF}" dt="2024-03-24T06:28:39.548" v="4353" actId="47"/>
          <pc:sldLayoutMkLst>
            <pc:docMk/>
            <pc:sldMasterMk cId="2847476743" sldId="2147483808"/>
            <pc:sldLayoutMk cId="1417451345" sldId="2147483813"/>
          </pc:sldLayoutMkLst>
        </pc:sldLayoutChg>
        <pc:sldLayoutChg chg="del">
          <pc:chgData name="Mikami, Maho" userId="50612f1b-df2d-47bb-8fdd-7ddedc83fc7e" providerId="ADAL" clId="{5CBE12F2-F3C8-4DCE-AD77-5EBD7EED8DBF}" dt="2024-03-24T06:28:39.548" v="4353" actId="47"/>
          <pc:sldLayoutMkLst>
            <pc:docMk/>
            <pc:sldMasterMk cId="2847476743" sldId="2147483808"/>
            <pc:sldLayoutMk cId="396013881" sldId="2147483814"/>
          </pc:sldLayoutMkLst>
        </pc:sldLayoutChg>
        <pc:sldLayoutChg chg="del">
          <pc:chgData name="Mikami, Maho" userId="50612f1b-df2d-47bb-8fdd-7ddedc83fc7e" providerId="ADAL" clId="{5CBE12F2-F3C8-4DCE-AD77-5EBD7EED8DBF}" dt="2024-03-24T06:28:39.548" v="4353" actId="47"/>
          <pc:sldLayoutMkLst>
            <pc:docMk/>
            <pc:sldMasterMk cId="2847476743" sldId="2147483808"/>
            <pc:sldLayoutMk cId="2644388439" sldId="2147483815"/>
          </pc:sldLayoutMkLst>
        </pc:sldLayoutChg>
        <pc:sldLayoutChg chg="del">
          <pc:chgData name="Mikami, Maho" userId="50612f1b-df2d-47bb-8fdd-7ddedc83fc7e" providerId="ADAL" clId="{5CBE12F2-F3C8-4DCE-AD77-5EBD7EED8DBF}" dt="2024-03-24T06:28:39.548" v="4353" actId="47"/>
          <pc:sldLayoutMkLst>
            <pc:docMk/>
            <pc:sldMasterMk cId="2847476743" sldId="2147483808"/>
            <pc:sldLayoutMk cId="247590073" sldId="2147483816"/>
          </pc:sldLayoutMkLst>
        </pc:sldLayoutChg>
        <pc:sldLayoutChg chg="del">
          <pc:chgData name="Mikami, Maho" userId="50612f1b-df2d-47bb-8fdd-7ddedc83fc7e" providerId="ADAL" clId="{5CBE12F2-F3C8-4DCE-AD77-5EBD7EED8DBF}" dt="2024-03-24T06:28:39.548" v="4353" actId="47"/>
          <pc:sldLayoutMkLst>
            <pc:docMk/>
            <pc:sldMasterMk cId="2847476743" sldId="2147483808"/>
            <pc:sldLayoutMk cId="1886230889" sldId="2147483817"/>
          </pc:sldLayoutMkLst>
        </pc:sldLayoutChg>
        <pc:sldLayoutChg chg="del">
          <pc:chgData name="Mikami, Maho" userId="50612f1b-df2d-47bb-8fdd-7ddedc83fc7e" providerId="ADAL" clId="{5CBE12F2-F3C8-4DCE-AD77-5EBD7EED8DBF}" dt="2024-03-24T06:28:39.548" v="4353" actId="47"/>
          <pc:sldLayoutMkLst>
            <pc:docMk/>
            <pc:sldMasterMk cId="2847476743" sldId="2147483808"/>
            <pc:sldLayoutMk cId="1029981503" sldId="2147483818"/>
          </pc:sldLayoutMkLst>
        </pc:sldLayoutChg>
        <pc:sldLayoutChg chg="del">
          <pc:chgData name="Mikami, Maho" userId="50612f1b-df2d-47bb-8fdd-7ddedc83fc7e" providerId="ADAL" clId="{5CBE12F2-F3C8-4DCE-AD77-5EBD7EED8DBF}" dt="2024-03-24T06:28:39.548" v="4353" actId="47"/>
          <pc:sldLayoutMkLst>
            <pc:docMk/>
            <pc:sldMasterMk cId="2847476743" sldId="2147483808"/>
            <pc:sldLayoutMk cId="3394524142" sldId="2147483819"/>
          </pc:sldLayoutMkLst>
        </pc:sldLayoutChg>
        <pc:sldLayoutChg chg="del">
          <pc:chgData name="Mikami, Maho" userId="50612f1b-df2d-47bb-8fdd-7ddedc83fc7e" providerId="ADAL" clId="{5CBE12F2-F3C8-4DCE-AD77-5EBD7EED8DBF}" dt="2024-03-24T06:28:39.548" v="4353" actId="47"/>
          <pc:sldLayoutMkLst>
            <pc:docMk/>
            <pc:sldMasterMk cId="2847476743" sldId="2147483808"/>
            <pc:sldLayoutMk cId="1112825797" sldId="2147483820"/>
          </pc:sldLayoutMkLst>
        </pc:sldLayoutChg>
        <pc:sldLayoutChg chg="del">
          <pc:chgData name="Mikami, Maho" userId="50612f1b-df2d-47bb-8fdd-7ddedc83fc7e" providerId="ADAL" clId="{5CBE12F2-F3C8-4DCE-AD77-5EBD7EED8DBF}" dt="2024-03-24T06:28:39.548" v="4353" actId="47"/>
          <pc:sldLayoutMkLst>
            <pc:docMk/>
            <pc:sldMasterMk cId="2847476743" sldId="2147483808"/>
            <pc:sldLayoutMk cId="1217769012" sldId="2147483821"/>
          </pc:sldLayoutMkLst>
        </pc:sldLayoutChg>
      </pc:sldMasterChg>
    </pc:docChg>
  </pc:docChgLst>
  <pc:docChgLst>
    <pc:chgData name="野沢 龍太郎" userId="a69d7eb3-acfc-4d2f-8244-da7c6277a67f" providerId="ADAL" clId="{F1EEBFAA-C528-4695-BC80-8FDEDE905BA9}"/>
    <pc:docChg chg="modSld">
      <pc:chgData name="野沢 龍太郎" userId="a69d7eb3-acfc-4d2f-8244-da7c6277a67f" providerId="ADAL" clId="{F1EEBFAA-C528-4695-BC80-8FDEDE905BA9}" dt="2024-07-12T08:24:26.454" v="307" actId="20577"/>
      <pc:docMkLst>
        <pc:docMk/>
      </pc:docMkLst>
      <pc:sldChg chg="modSp mod">
        <pc:chgData name="野沢 龍太郎" userId="a69d7eb3-acfc-4d2f-8244-da7c6277a67f" providerId="ADAL" clId="{F1EEBFAA-C528-4695-BC80-8FDEDE905BA9}" dt="2024-07-12T08:20:18.320" v="66" actId="14100"/>
        <pc:sldMkLst>
          <pc:docMk/>
          <pc:sldMk cId="1786860980" sldId="2147378654"/>
        </pc:sldMkLst>
        <pc:spChg chg="mod">
          <ac:chgData name="野沢 龍太郎" userId="a69d7eb3-acfc-4d2f-8244-da7c6277a67f" providerId="ADAL" clId="{F1EEBFAA-C528-4695-BC80-8FDEDE905BA9}" dt="2024-07-12T08:20:18.320" v="66" actId="14100"/>
          <ac:spMkLst>
            <pc:docMk/>
            <pc:sldMk cId="1786860980" sldId="2147378654"/>
            <ac:spMk id="10" creationId="{C1084721-7EDF-0DAE-BBA0-0ED1A14E3AE7}"/>
          </ac:spMkLst>
        </pc:spChg>
      </pc:sldChg>
      <pc:sldChg chg="modNotesTx">
        <pc:chgData name="野沢 龍太郎" userId="a69d7eb3-acfc-4d2f-8244-da7c6277a67f" providerId="ADAL" clId="{F1EEBFAA-C528-4695-BC80-8FDEDE905BA9}" dt="2024-07-12T08:19:54.469" v="65" actId="20577"/>
        <pc:sldMkLst>
          <pc:docMk/>
          <pc:sldMk cId="959679513" sldId="2147378701"/>
        </pc:sldMkLst>
      </pc:sldChg>
      <pc:sldChg chg="modNotesTx">
        <pc:chgData name="野沢 龍太郎" userId="a69d7eb3-acfc-4d2f-8244-da7c6277a67f" providerId="ADAL" clId="{F1EEBFAA-C528-4695-BC80-8FDEDE905BA9}" dt="2024-07-12T08:22:34.313" v="242" actId="20577"/>
        <pc:sldMkLst>
          <pc:docMk/>
          <pc:sldMk cId="936371591" sldId="2147378704"/>
        </pc:sldMkLst>
      </pc:sldChg>
      <pc:sldChg chg="modNotesTx">
        <pc:chgData name="野沢 龍太郎" userId="a69d7eb3-acfc-4d2f-8244-da7c6277a67f" providerId="ADAL" clId="{F1EEBFAA-C528-4695-BC80-8FDEDE905BA9}" dt="2024-07-12T08:24:26.454" v="307" actId="20577"/>
        <pc:sldMkLst>
          <pc:docMk/>
          <pc:sldMk cId="355750652" sldId="2147378708"/>
        </pc:sldMkLst>
      </pc:sldChg>
    </pc:docChg>
  </pc:docChgLst>
  <pc:docChgLst>
    <pc:chgData name="Mikami, Maho" userId="50612f1b-df2d-47bb-8fdd-7ddedc83fc7e" providerId="ADAL" clId="{F7D83F21-36A9-40AE-BD2D-D23C0BEDA3FB}"/>
    <pc:docChg chg="delSld delMainMaster delSection modSection">
      <pc:chgData name="Mikami, Maho" userId="50612f1b-df2d-47bb-8fdd-7ddedc83fc7e" providerId="ADAL" clId="{F7D83F21-36A9-40AE-BD2D-D23C0BEDA3FB}" dt="2024-03-04T03:40:15.567" v="10" actId="17851"/>
      <pc:docMkLst>
        <pc:docMk/>
      </pc:docMkLst>
      <pc:sldChg chg="del">
        <pc:chgData name="Mikami, Maho" userId="50612f1b-df2d-47bb-8fdd-7ddedc83fc7e" providerId="ADAL" clId="{F7D83F21-36A9-40AE-BD2D-D23C0BEDA3FB}" dt="2024-03-04T03:39:45.376" v="0" actId="18676"/>
        <pc:sldMkLst>
          <pc:docMk/>
          <pc:sldMk cId="462420486" sldId="2146847375"/>
        </pc:sldMkLst>
      </pc:sldChg>
      <pc:sldChg chg="del">
        <pc:chgData name="Mikami, Maho" userId="50612f1b-df2d-47bb-8fdd-7ddedc83fc7e" providerId="ADAL" clId="{F7D83F21-36A9-40AE-BD2D-D23C0BEDA3FB}" dt="2024-03-04T03:39:45.376" v="0" actId="18676"/>
        <pc:sldMkLst>
          <pc:docMk/>
          <pc:sldMk cId="528819178" sldId="2147376917"/>
        </pc:sldMkLst>
      </pc:sldChg>
      <pc:sldChg chg="del">
        <pc:chgData name="Mikami, Maho" userId="50612f1b-df2d-47bb-8fdd-7ddedc83fc7e" providerId="ADAL" clId="{F7D83F21-36A9-40AE-BD2D-D23C0BEDA3FB}" dt="2024-03-04T03:39:48.782" v="2" actId="18676"/>
        <pc:sldMkLst>
          <pc:docMk/>
          <pc:sldMk cId="1351919840" sldId="2147377556"/>
        </pc:sldMkLst>
      </pc:sldChg>
      <pc:sldChg chg="del">
        <pc:chgData name="Mikami, Maho" userId="50612f1b-df2d-47bb-8fdd-7ddedc83fc7e" providerId="ADAL" clId="{F7D83F21-36A9-40AE-BD2D-D23C0BEDA3FB}" dt="2024-03-04T03:39:47.194" v="1" actId="18676"/>
        <pc:sldMkLst>
          <pc:docMk/>
          <pc:sldMk cId="2246359945" sldId="2147377561"/>
        </pc:sldMkLst>
      </pc:sldChg>
      <pc:sldChg chg="del">
        <pc:chgData name="Mikami, Maho" userId="50612f1b-df2d-47bb-8fdd-7ddedc83fc7e" providerId="ADAL" clId="{F7D83F21-36A9-40AE-BD2D-D23C0BEDA3FB}" dt="2024-03-04T03:39:47.194" v="1" actId="18676"/>
        <pc:sldMkLst>
          <pc:docMk/>
          <pc:sldMk cId="734518959" sldId="2147377562"/>
        </pc:sldMkLst>
      </pc:sldChg>
      <pc:sldChg chg="del">
        <pc:chgData name="Mikami, Maho" userId="50612f1b-df2d-47bb-8fdd-7ddedc83fc7e" providerId="ADAL" clId="{F7D83F21-36A9-40AE-BD2D-D23C0BEDA3FB}" dt="2024-03-04T03:39:47.194" v="1" actId="18676"/>
        <pc:sldMkLst>
          <pc:docMk/>
          <pc:sldMk cId="238679770" sldId="2147377563"/>
        </pc:sldMkLst>
      </pc:sldChg>
      <pc:sldChg chg="del">
        <pc:chgData name="Mikami, Maho" userId="50612f1b-df2d-47bb-8fdd-7ddedc83fc7e" providerId="ADAL" clId="{F7D83F21-36A9-40AE-BD2D-D23C0BEDA3FB}" dt="2024-03-04T03:39:45.376" v="0" actId="18676"/>
        <pc:sldMkLst>
          <pc:docMk/>
          <pc:sldMk cId="805073852" sldId="2147377567"/>
        </pc:sldMkLst>
      </pc:sldChg>
      <pc:sldChg chg="del">
        <pc:chgData name="Mikami, Maho" userId="50612f1b-df2d-47bb-8fdd-7ddedc83fc7e" providerId="ADAL" clId="{F7D83F21-36A9-40AE-BD2D-D23C0BEDA3FB}" dt="2024-03-04T03:39:45.376" v="0" actId="18676"/>
        <pc:sldMkLst>
          <pc:docMk/>
          <pc:sldMk cId="685865146" sldId="2147377574"/>
        </pc:sldMkLst>
      </pc:sldChg>
      <pc:sldChg chg="del">
        <pc:chgData name="Mikami, Maho" userId="50612f1b-df2d-47bb-8fdd-7ddedc83fc7e" providerId="ADAL" clId="{F7D83F21-36A9-40AE-BD2D-D23C0BEDA3FB}" dt="2024-03-04T03:39:45.376" v="0" actId="18676"/>
        <pc:sldMkLst>
          <pc:docMk/>
          <pc:sldMk cId="2570715531" sldId="2147377575"/>
        </pc:sldMkLst>
      </pc:sldChg>
      <pc:sldChg chg="del">
        <pc:chgData name="Mikami, Maho" userId="50612f1b-df2d-47bb-8fdd-7ddedc83fc7e" providerId="ADAL" clId="{F7D83F21-36A9-40AE-BD2D-D23C0BEDA3FB}" dt="2024-03-04T03:39:59.933" v="5" actId="18676"/>
        <pc:sldMkLst>
          <pc:docMk/>
          <pc:sldMk cId="3281773256" sldId="2147377576"/>
        </pc:sldMkLst>
      </pc:sldChg>
      <pc:sldChg chg="del">
        <pc:chgData name="Mikami, Maho" userId="50612f1b-df2d-47bb-8fdd-7ddedc83fc7e" providerId="ADAL" clId="{F7D83F21-36A9-40AE-BD2D-D23C0BEDA3FB}" dt="2024-03-04T03:39:59.933" v="5" actId="18676"/>
        <pc:sldMkLst>
          <pc:docMk/>
          <pc:sldMk cId="107032690" sldId="2147377577"/>
        </pc:sldMkLst>
      </pc:sldChg>
      <pc:sldChg chg="del">
        <pc:chgData name="Mikami, Maho" userId="50612f1b-df2d-47bb-8fdd-7ddedc83fc7e" providerId="ADAL" clId="{F7D83F21-36A9-40AE-BD2D-D23C0BEDA3FB}" dt="2024-03-04T03:39:52.338" v="4" actId="18676"/>
        <pc:sldMkLst>
          <pc:docMk/>
          <pc:sldMk cId="3227318452" sldId="2147377581"/>
        </pc:sldMkLst>
      </pc:sldChg>
      <pc:sldChg chg="del">
        <pc:chgData name="Mikami, Maho" userId="50612f1b-df2d-47bb-8fdd-7ddedc83fc7e" providerId="ADAL" clId="{F7D83F21-36A9-40AE-BD2D-D23C0BEDA3FB}" dt="2024-03-04T03:39:48.782" v="2" actId="18676"/>
        <pc:sldMkLst>
          <pc:docMk/>
          <pc:sldMk cId="1839331040" sldId="2147377657"/>
        </pc:sldMkLst>
      </pc:sldChg>
      <pc:sldChg chg="del">
        <pc:chgData name="Mikami, Maho" userId="50612f1b-df2d-47bb-8fdd-7ddedc83fc7e" providerId="ADAL" clId="{F7D83F21-36A9-40AE-BD2D-D23C0BEDA3FB}" dt="2024-03-04T03:39:48.782" v="2" actId="18676"/>
        <pc:sldMkLst>
          <pc:docMk/>
          <pc:sldMk cId="4163403683" sldId="2147377659"/>
        </pc:sldMkLst>
      </pc:sldChg>
      <pc:sldChg chg="del">
        <pc:chgData name="Mikami, Maho" userId="50612f1b-df2d-47bb-8fdd-7ddedc83fc7e" providerId="ADAL" clId="{F7D83F21-36A9-40AE-BD2D-D23C0BEDA3FB}" dt="2024-03-04T03:39:48.782" v="2" actId="18676"/>
        <pc:sldMkLst>
          <pc:docMk/>
          <pc:sldMk cId="1120326078" sldId="2147377666"/>
        </pc:sldMkLst>
      </pc:sldChg>
      <pc:sldChg chg="del">
        <pc:chgData name="Mikami, Maho" userId="50612f1b-df2d-47bb-8fdd-7ddedc83fc7e" providerId="ADAL" clId="{F7D83F21-36A9-40AE-BD2D-D23C0BEDA3FB}" dt="2024-03-04T03:39:45.376" v="0" actId="18676"/>
        <pc:sldMkLst>
          <pc:docMk/>
          <pc:sldMk cId="3890934605" sldId="2147377668"/>
        </pc:sldMkLst>
      </pc:sldChg>
      <pc:sldChg chg="del">
        <pc:chgData name="Mikami, Maho" userId="50612f1b-df2d-47bb-8fdd-7ddedc83fc7e" providerId="ADAL" clId="{F7D83F21-36A9-40AE-BD2D-D23C0BEDA3FB}" dt="2024-03-04T03:39:52.338" v="4" actId="18676"/>
        <pc:sldMkLst>
          <pc:docMk/>
          <pc:sldMk cId="1135267340" sldId="2147377669"/>
        </pc:sldMkLst>
      </pc:sldChg>
      <pc:sldChg chg="del">
        <pc:chgData name="Mikami, Maho" userId="50612f1b-df2d-47bb-8fdd-7ddedc83fc7e" providerId="ADAL" clId="{F7D83F21-36A9-40AE-BD2D-D23C0BEDA3FB}" dt="2024-03-04T03:40:11.972" v="9" actId="47"/>
        <pc:sldMkLst>
          <pc:docMk/>
          <pc:sldMk cId="1817343379" sldId="2147377671"/>
        </pc:sldMkLst>
      </pc:sldChg>
      <pc:sldChg chg="del">
        <pc:chgData name="Mikami, Maho" userId="50612f1b-df2d-47bb-8fdd-7ddedc83fc7e" providerId="ADAL" clId="{F7D83F21-36A9-40AE-BD2D-D23C0BEDA3FB}" dt="2024-03-04T03:39:45.376" v="0" actId="18676"/>
        <pc:sldMkLst>
          <pc:docMk/>
          <pc:sldMk cId="844297631" sldId="2147377673"/>
        </pc:sldMkLst>
      </pc:sldChg>
      <pc:sldChg chg="del">
        <pc:chgData name="Mikami, Maho" userId="50612f1b-df2d-47bb-8fdd-7ddedc83fc7e" providerId="ADAL" clId="{F7D83F21-36A9-40AE-BD2D-D23C0BEDA3FB}" dt="2024-03-04T03:39:45.376" v="0" actId="18676"/>
        <pc:sldMkLst>
          <pc:docMk/>
          <pc:sldMk cId="4244873255" sldId="2147377689"/>
        </pc:sldMkLst>
      </pc:sldChg>
      <pc:sldChg chg="del">
        <pc:chgData name="Mikami, Maho" userId="50612f1b-df2d-47bb-8fdd-7ddedc83fc7e" providerId="ADAL" clId="{F7D83F21-36A9-40AE-BD2D-D23C0BEDA3FB}" dt="2024-03-04T03:39:50.542" v="3" actId="18676"/>
        <pc:sldMkLst>
          <pc:docMk/>
          <pc:sldMk cId="1739290471" sldId="2147377690"/>
        </pc:sldMkLst>
      </pc:sldChg>
      <pc:sldChg chg="del">
        <pc:chgData name="Mikami, Maho" userId="50612f1b-df2d-47bb-8fdd-7ddedc83fc7e" providerId="ADAL" clId="{F7D83F21-36A9-40AE-BD2D-D23C0BEDA3FB}" dt="2024-03-04T03:39:47.194" v="1" actId="18676"/>
        <pc:sldMkLst>
          <pc:docMk/>
          <pc:sldMk cId="1758274760" sldId="2147377704"/>
        </pc:sldMkLst>
      </pc:sldChg>
      <pc:sldChg chg="del">
        <pc:chgData name="Mikami, Maho" userId="50612f1b-df2d-47bb-8fdd-7ddedc83fc7e" providerId="ADAL" clId="{F7D83F21-36A9-40AE-BD2D-D23C0BEDA3FB}" dt="2024-03-04T03:39:47.194" v="1" actId="18676"/>
        <pc:sldMkLst>
          <pc:docMk/>
          <pc:sldMk cId="3883192585" sldId="2147377705"/>
        </pc:sldMkLst>
      </pc:sldChg>
      <pc:sldChg chg="del">
        <pc:chgData name="Mikami, Maho" userId="50612f1b-df2d-47bb-8fdd-7ddedc83fc7e" providerId="ADAL" clId="{F7D83F21-36A9-40AE-BD2D-D23C0BEDA3FB}" dt="2024-03-04T03:39:47.194" v="1" actId="18676"/>
        <pc:sldMkLst>
          <pc:docMk/>
          <pc:sldMk cId="504310052" sldId="2147377727"/>
        </pc:sldMkLst>
      </pc:sldChg>
      <pc:sldChg chg="del">
        <pc:chgData name="Mikami, Maho" userId="50612f1b-df2d-47bb-8fdd-7ddedc83fc7e" providerId="ADAL" clId="{F7D83F21-36A9-40AE-BD2D-D23C0BEDA3FB}" dt="2024-03-04T03:40:06.877" v="7" actId="47"/>
        <pc:sldMkLst>
          <pc:docMk/>
          <pc:sldMk cId="262838709" sldId="2147377729"/>
        </pc:sldMkLst>
      </pc:sldChg>
      <pc:sldChg chg="del">
        <pc:chgData name="Mikami, Maho" userId="50612f1b-df2d-47bb-8fdd-7ddedc83fc7e" providerId="ADAL" clId="{F7D83F21-36A9-40AE-BD2D-D23C0BEDA3FB}" dt="2024-03-04T03:40:08.758" v="8" actId="18676"/>
        <pc:sldMkLst>
          <pc:docMk/>
          <pc:sldMk cId="333876597" sldId="2147377892"/>
        </pc:sldMkLst>
      </pc:sldChg>
      <pc:sldChg chg="del">
        <pc:chgData name="Mikami, Maho" userId="50612f1b-df2d-47bb-8fdd-7ddedc83fc7e" providerId="ADAL" clId="{F7D83F21-36A9-40AE-BD2D-D23C0BEDA3FB}" dt="2024-03-04T03:40:08.758" v="8" actId="18676"/>
        <pc:sldMkLst>
          <pc:docMk/>
          <pc:sldMk cId="3652295164" sldId="2147377906"/>
        </pc:sldMkLst>
      </pc:sldChg>
      <pc:sldChg chg="del">
        <pc:chgData name="Mikami, Maho" userId="50612f1b-df2d-47bb-8fdd-7ddedc83fc7e" providerId="ADAL" clId="{F7D83F21-36A9-40AE-BD2D-D23C0BEDA3FB}" dt="2024-03-04T03:40:03.934" v="6" actId="18676"/>
        <pc:sldMkLst>
          <pc:docMk/>
          <pc:sldMk cId="1061942161" sldId="2147377908"/>
        </pc:sldMkLst>
      </pc:sldChg>
      <pc:sldChg chg="del">
        <pc:chgData name="Mikami, Maho" userId="50612f1b-df2d-47bb-8fdd-7ddedc83fc7e" providerId="ADAL" clId="{F7D83F21-36A9-40AE-BD2D-D23C0BEDA3FB}" dt="2024-03-04T03:40:08.758" v="8" actId="18676"/>
        <pc:sldMkLst>
          <pc:docMk/>
          <pc:sldMk cId="2998354439" sldId="2147377945"/>
        </pc:sldMkLst>
      </pc:sldChg>
      <pc:sldChg chg="del">
        <pc:chgData name="Mikami, Maho" userId="50612f1b-df2d-47bb-8fdd-7ddedc83fc7e" providerId="ADAL" clId="{F7D83F21-36A9-40AE-BD2D-D23C0BEDA3FB}" dt="2024-03-04T03:39:48.782" v="2" actId="18676"/>
        <pc:sldMkLst>
          <pc:docMk/>
          <pc:sldMk cId="2185342663" sldId="2147378575"/>
        </pc:sldMkLst>
      </pc:sldChg>
      <pc:sldChg chg="del">
        <pc:chgData name="Mikami, Maho" userId="50612f1b-df2d-47bb-8fdd-7ddedc83fc7e" providerId="ADAL" clId="{F7D83F21-36A9-40AE-BD2D-D23C0BEDA3FB}" dt="2024-03-04T03:39:48.782" v="2" actId="18676"/>
        <pc:sldMkLst>
          <pc:docMk/>
          <pc:sldMk cId="3435946206" sldId="2147378576"/>
        </pc:sldMkLst>
      </pc:sldChg>
      <pc:sldChg chg="del">
        <pc:chgData name="Mikami, Maho" userId="50612f1b-df2d-47bb-8fdd-7ddedc83fc7e" providerId="ADAL" clId="{F7D83F21-36A9-40AE-BD2D-D23C0BEDA3FB}" dt="2024-03-04T03:39:48.782" v="2" actId="18676"/>
        <pc:sldMkLst>
          <pc:docMk/>
          <pc:sldMk cId="3567355389" sldId="2147378578"/>
        </pc:sldMkLst>
      </pc:sldChg>
      <pc:sldChg chg="del">
        <pc:chgData name="Mikami, Maho" userId="50612f1b-df2d-47bb-8fdd-7ddedc83fc7e" providerId="ADAL" clId="{F7D83F21-36A9-40AE-BD2D-D23C0BEDA3FB}" dt="2024-03-04T03:39:48.782" v="2" actId="18676"/>
        <pc:sldMkLst>
          <pc:docMk/>
          <pc:sldMk cId="707529735" sldId="2147378579"/>
        </pc:sldMkLst>
      </pc:sldChg>
      <pc:sldChg chg="del">
        <pc:chgData name="Mikami, Maho" userId="50612f1b-df2d-47bb-8fdd-7ddedc83fc7e" providerId="ADAL" clId="{F7D83F21-36A9-40AE-BD2D-D23C0BEDA3FB}" dt="2024-03-04T03:39:48.782" v="2" actId="18676"/>
        <pc:sldMkLst>
          <pc:docMk/>
          <pc:sldMk cId="3727282006" sldId="2147378580"/>
        </pc:sldMkLst>
      </pc:sldChg>
      <pc:sldChg chg="del">
        <pc:chgData name="Mikami, Maho" userId="50612f1b-df2d-47bb-8fdd-7ddedc83fc7e" providerId="ADAL" clId="{F7D83F21-36A9-40AE-BD2D-D23C0BEDA3FB}" dt="2024-03-04T03:39:48.782" v="2" actId="18676"/>
        <pc:sldMkLst>
          <pc:docMk/>
          <pc:sldMk cId="2792087975" sldId="2147378616"/>
        </pc:sldMkLst>
      </pc:sldChg>
      <pc:sldChg chg="del">
        <pc:chgData name="Mikami, Maho" userId="50612f1b-df2d-47bb-8fdd-7ddedc83fc7e" providerId="ADAL" clId="{F7D83F21-36A9-40AE-BD2D-D23C0BEDA3FB}" dt="2024-03-04T03:39:48.782" v="2" actId="18676"/>
        <pc:sldMkLst>
          <pc:docMk/>
          <pc:sldMk cId="981739146" sldId="2147378617"/>
        </pc:sldMkLst>
      </pc:sldChg>
      <pc:sldChg chg="del">
        <pc:chgData name="Mikami, Maho" userId="50612f1b-df2d-47bb-8fdd-7ddedc83fc7e" providerId="ADAL" clId="{F7D83F21-36A9-40AE-BD2D-D23C0BEDA3FB}" dt="2024-03-04T03:39:48.782" v="2" actId="18676"/>
        <pc:sldMkLst>
          <pc:docMk/>
          <pc:sldMk cId="3534535305" sldId="2147378618"/>
        </pc:sldMkLst>
      </pc:sldChg>
      <pc:sldChg chg="del">
        <pc:chgData name="Mikami, Maho" userId="50612f1b-df2d-47bb-8fdd-7ddedc83fc7e" providerId="ADAL" clId="{F7D83F21-36A9-40AE-BD2D-D23C0BEDA3FB}" dt="2024-03-04T03:39:47.194" v="1" actId="18676"/>
        <pc:sldMkLst>
          <pc:docMk/>
          <pc:sldMk cId="1623541732" sldId="2147378624"/>
        </pc:sldMkLst>
      </pc:sldChg>
      <pc:sldChg chg="del">
        <pc:chgData name="Mikami, Maho" userId="50612f1b-df2d-47bb-8fdd-7ddedc83fc7e" providerId="ADAL" clId="{F7D83F21-36A9-40AE-BD2D-D23C0BEDA3FB}" dt="2024-03-04T03:39:47.194" v="1" actId="18676"/>
        <pc:sldMkLst>
          <pc:docMk/>
          <pc:sldMk cId="896410585" sldId="2147378627"/>
        </pc:sldMkLst>
      </pc:sldChg>
      <pc:sldChg chg="del">
        <pc:chgData name="Mikami, Maho" userId="50612f1b-df2d-47bb-8fdd-7ddedc83fc7e" providerId="ADAL" clId="{F7D83F21-36A9-40AE-BD2D-D23C0BEDA3FB}" dt="2024-03-04T03:39:47.194" v="1" actId="18676"/>
        <pc:sldMkLst>
          <pc:docMk/>
          <pc:sldMk cId="1824916541" sldId="2147378629"/>
        </pc:sldMkLst>
      </pc:sldChg>
      <pc:sldChg chg="del">
        <pc:chgData name="Mikami, Maho" userId="50612f1b-df2d-47bb-8fdd-7ddedc83fc7e" providerId="ADAL" clId="{F7D83F21-36A9-40AE-BD2D-D23C0BEDA3FB}" dt="2024-03-04T03:39:47.194" v="1" actId="18676"/>
        <pc:sldMkLst>
          <pc:docMk/>
          <pc:sldMk cId="996035034" sldId="2147378643"/>
        </pc:sldMkLst>
      </pc:sldChg>
      <pc:sldChg chg="del">
        <pc:chgData name="Mikami, Maho" userId="50612f1b-df2d-47bb-8fdd-7ddedc83fc7e" providerId="ADAL" clId="{F7D83F21-36A9-40AE-BD2D-D23C0BEDA3FB}" dt="2024-03-04T03:39:45.376" v="0" actId="18676"/>
        <pc:sldMkLst>
          <pc:docMk/>
          <pc:sldMk cId="561355321" sldId="2147378644"/>
        </pc:sldMkLst>
      </pc:sldChg>
      <pc:sldChg chg="del">
        <pc:chgData name="Mikami, Maho" userId="50612f1b-df2d-47bb-8fdd-7ddedc83fc7e" providerId="ADAL" clId="{F7D83F21-36A9-40AE-BD2D-D23C0BEDA3FB}" dt="2024-03-04T03:39:50.542" v="3" actId="18676"/>
        <pc:sldMkLst>
          <pc:docMk/>
          <pc:sldMk cId="3910577318" sldId="2147378646"/>
        </pc:sldMkLst>
      </pc:sldChg>
      <pc:sldChg chg="del">
        <pc:chgData name="Mikami, Maho" userId="50612f1b-df2d-47bb-8fdd-7ddedc83fc7e" providerId="ADAL" clId="{F7D83F21-36A9-40AE-BD2D-D23C0BEDA3FB}" dt="2024-03-04T03:39:45.376" v="0" actId="18676"/>
        <pc:sldMkLst>
          <pc:docMk/>
          <pc:sldMk cId="3368404900" sldId="2147378647"/>
        </pc:sldMkLst>
      </pc:sldChg>
      <pc:sldChg chg="del">
        <pc:chgData name="Mikami, Maho" userId="50612f1b-df2d-47bb-8fdd-7ddedc83fc7e" providerId="ADAL" clId="{F7D83F21-36A9-40AE-BD2D-D23C0BEDA3FB}" dt="2024-03-04T03:39:47.194" v="1" actId="18676"/>
        <pc:sldMkLst>
          <pc:docMk/>
          <pc:sldMk cId="4276795404" sldId="2147378673"/>
        </pc:sldMkLst>
      </pc:sldChg>
      <pc:sldChg chg="del">
        <pc:chgData name="Mikami, Maho" userId="50612f1b-df2d-47bb-8fdd-7ddedc83fc7e" providerId="ADAL" clId="{F7D83F21-36A9-40AE-BD2D-D23C0BEDA3FB}" dt="2024-03-04T03:39:47.194" v="1" actId="18676"/>
        <pc:sldMkLst>
          <pc:docMk/>
          <pc:sldMk cId="2502302048" sldId="2147378674"/>
        </pc:sldMkLst>
      </pc:sldChg>
      <pc:sldChg chg="del">
        <pc:chgData name="Mikami, Maho" userId="50612f1b-df2d-47bb-8fdd-7ddedc83fc7e" providerId="ADAL" clId="{F7D83F21-36A9-40AE-BD2D-D23C0BEDA3FB}" dt="2024-03-04T03:39:47.194" v="1" actId="18676"/>
        <pc:sldMkLst>
          <pc:docMk/>
          <pc:sldMk cId="3451483535" sldId="2147378697"/>
        </pc:sldMkLst>
      </pc:sldChg>
      <pc:sldChg chg="del">
        <pc:chgData name="Mikami, Maho" userId="50612f1b-df2d-47bb-8fdd-7ddedc83fc7e" providerId="ADAL" clId="{F7D83F21-36A9-40AE-BD2D-D23C0BEDA3FB}" dt="2024-03-04T03:39:47.194" v="1" actId="18676"/>
        <pc:sldMkLst>
          <pc:docMk/>
          <pc:sldMk cId="2526397507" sldId="2147378698"/>
        </pc:sldMkLst>
      </pc:sldChg>
      <pc:sldChg chg="del">
        <pc:chgData name="Mikami, Maho" userId="50612f1b-df2d-47bb-8fdd-7ddedc83fc7e" providerId="ADAL" clId="{F7D83F21-36A9-40AE-BD2D-D23C0BEDA3FB}" dt="2024-03-04T03:39:47.194" v="1" actId="18676"/>
        <pc:sldMkLst>
          <pc:docMk/>
          <pc:sldMk cId="2319219132" sldId="2147378699"/>
        </pc:sldMkLst>
      </pc:sldChg>
      <pc:sldMasterChg chg="del delSldLayout">
        <pc:chgData name="Mikami, Maho" userId="50612f1b-df2d-47bb-8fdd-7ddedc83fc7e" providerId="ADAL" clId="{F7D83F21-36A9-40AE-BD2D-D23C0BEDA3FB}" dt="2024-03-04T03:39:50.542" v="3" actId="18676"/>
        <pc:sldMasterMkLst>
          <pc:docMk/>
          <pc:sldMasterMk cId="3255063131" sldId="2147483667"/>
        </pc:sldMasterMkLst>
        <pc:sldLayoutChg chg="del">
          <pc:chgData name="Mikami, Maho" userId="50612f1b-df2d-47bb-8fdd-7ddedc83fc7e" providerId="ADAL" clId="{F7D83F21-36A9-40AE-BD2D-D23C0BEDA3FB}" dt="2024-03-04T03:39:50.542" v="3" actId="18676"/>
          <pc:sldLayoutMkLst>
            <pc:docMk/>
            <pc:sldMasterMk cId="3255063131" sldId="2147483667"/>
            <pc:sldLayoutMk cId="1791946754" sldId="2147483668"/>
          </pc:sldLayoutMkLst>
        </pc:sldLayoutChg>
        <pc:sldLayoutChg chg="del">
          <pc:chgData name="Mikami, Maho" userId="50612f1b-df2d-47bb-8fdd-7ddedc83fc7e" providerId="ADAL" clId="{F7D83F21-36A9-40AE-BD2D-D23C0BEDA3FB}" dt="2024-03-04T03:39:50.542" v="3" actId="18676"/>
          <pc:sldLayoutMkLst>
            <pc:docMk/>
            <pc:sldMasterMk cId="3255063131" sldId="2147483667"/>
            <pc:sldLayoutMk cId="908681121" sldId="2147483669"/>
          </pc:sldLayoutMkLst>
        </pc:sldLayoutChg>
        <pc:sldLayoutChg chg="del">
          <pc:chgData name="Mikami, Maho" userId="50612f1b-df2d-47bb-8fdd-7ddedc83fc7e" providerId="ADAL" clId="{F7D83F21-36A9-40AE-BD2D-D23C0BEDA3FB}" dt="2024-03-04T03:39:50.542" v="3" actId="18676"/>
          <pc:sldLayoutMkLst>
            <pc:docMk/>
            <pc:sldMasterMk cId="3255063131" sldId="2147483667"/>
            <pc:sldLayoutMk cId="1267481303" sldId="2147483670"/>
          </pc:sldLayoutMkLst>
        </pc:sldLayoutChg>
        <pc:sldLayoutChg chg="del">
          <pc:chgData name="Mikami, Maho" userId="50612f1b-df2d-47bb-8fdd-7ddedc83fc7e" providerId="ADAL" clId="{F7D83F21-36A9-40AE-BD2D-D23C0BEDA3FB}" dt="2024-03-04T03:39:50.542" v="3" actId="18676"/>
          <pc:sldLayoutMkLst>
            <pc:docMk/>
            <pc:sldMasterMk cId="3255063131" sldId="2147483667"/>
            <pc:sldLayoutMk cId="2485696525" sldId="2147483671"/>
          </pc:sldLayoutMkLst>
        </pc:sldLayoutChg>
        <pc:sldLayoutChg chg="del">
          <pc:chgData name="Mikami, Maho" userId="50612f1b-df2d-47bb-8fdd-7ddedc83fc7e" providerId="ADAL" clId="{F7D83F21-36A9-40AE-BD2D-D23C0BEDA3FB}" dt="2024-03-04T03:39:50.542" v="3" actId="18676"/>
          <pc:sldLayoutMkLst>
            <pc:docMk/>
            <pc:sldMasterMk cId="3255063131" sldId="2147483667"/>
            <pc:sldLayoutMk cId="885518602" sldId="2147483672"/>
          </pc:sldLayoutMkLst>
        </pc:sldLayoutChg>
        <pc:sldLayoutChg chg="del">
          <pc:chgData name="Mikami, Maho" userId="50612f1b-df2d-47bb-8fdd-7ddedc83fc7e" providerId="ADAL" clId="{F7D83F21-36A9-40AE-BD2D-D23C0BEDA3FB}" dt="2024-03-04T03:39:50.542" v="3" actId="18676"/>
          <pc:sldLayoutMkLst>
            <pc:docMk/>
            <pc:sldMasterMk cId="3255063131" sldId="2147483667"/>
            <pc:sldLayoutMk cId="1945914954" sldId="2147483673"/>
          </pc:sldLayoutMkLst>
        </pc:sldLayoutChg>
        <pc:sldLayoutChg chg="del">
          <pc:chgData name="Mikami, Maho" userId="50612f1b-df2d-47bb-8fdd-7ddedc83fc7e" providerId="ADAL" clId="{F7D83F21-36A9-40AE-BD2D-D23C0BEDA3FB}" dt="2024-03-04T03:39:50.542" v="3" actId="18676"/>
          <pc:sldLayoutMkLst>
            <pc:docMk/>
            <pc:sldMasterMk cId="3255063131" sldId="2147483667"/>
            <pc:sldLayoutMk cId="3101348441" sldId="2147483674"/>
          </pc:sldLayoutMkLst>
        </pc:sldLayoutChg>
        <pc:sldLayoutChg chg="del">
          <pc:chgData name="Mikami, Maho" userId="50612f1b-df2d-47bb-8fdd-7ddedc83fc7e" providerId="ADAL" clId="{F7D83F21-36A9-40AE-BD2D-D23C0BEDA3FB}" dt="2024-03-04T03:39:50.542" v="3" actId="18676"/>
          <pc:sldLayoutMkLst>
            <pc:docMk/>
            <pc:sldMasterMk cId="3255063131" sldId="2147483667"/>
            <pc:sldLayoutMk cId="1306352199" sldId="2147483675"/>
          </pc:sldLayoutMkLst>
        </pc:sldLayoutChg>
        <pc:sldLayoutChg chg="del">
          <pc:chgData name="Mikami, Maho" userId="50612f1b-df2d-47bb-8fdd-7ddedc83fc7e" providerId="ADAL" clId="{F7D83F21-36A9-40AE-BD2D-D23C0BEDA3FB}" dt="2024-03-04T03:39:50.542" v="3" actId="18676"/>
          <pc:sldLayoutMkLst>
            <pc:docMk/>
            <pc:sldMasterMk cId="3255063131" sldId="2147483667"/>
            <pc:sldLayoutMk cId="1824245592" sldId="2147483676"/>
          </pc:sldLayoutMkLst>
        </pc:sldLayoutChg>
        <pc:sldLayoutChg chg="del">
          <pc:chgData name="Mikami, Maho" userId="50612f1b-df2d-47bb-8fdd-7ddedc83fc7e" providerId="ADAL" clId="{F7D83F21-36A9-40AE-BD2D-D23C0BEDA3FB}" dt="2024-03-04T03:39:50.542" v="3" actId="18676"/>
          <pc:sldLayoutMkLst>
            <pc:docMk/>
            <pc:sldMasterMk cId="3255063131" sldId="2147483667"/>
            <pc:sldLayoutMk cId="3806583456" sldId="2147483677"/>
          </pc:sldLayoutMkLst>
        </pc:sldLayoutChg>
        <pc:sldLayoutChg chg="del">
          <pc:chgData name="Mikami, Maho" userId="50612f1b-df2d-47bb-8fdd-7ddedc83fc7e" providerId="ADAL" clId="{F7D83F21-36A9-40AE-BD2D-D23C0BEDA3FB}" dt="2024-03-04T03:39:50.542" v="3" actId="18676"/>
          <pc:sldLayoutMkLst>
            <pc:docMk/>
            <pc:sldMasterMk cId="3255063131" sldId="2147483667"/>
            <pc:sldLayoutMk cId="3762773956" sldId="2147483678"/>
          </pc:sldLayoutMkLst>
        </pc:sldLayoutChg>
        <pc:sldLayoutChg chg="del">
          <pc:chgData name="Mikami, Maho" userId="50612f1b-df2d-47bb-8fdd-7ddedc83fc7e" providerId="ADAL" clId="{F7D83F21-36A9-40AE-BD2D-D23C0BEDA3FB}" dt="2024-03-04T03:39:50.542" v="3" actId="18676"/>
          <pc:sldLayoutMkLst>
            <pc:docMk/>
            <pc:sldMasterMk cId="3255063131" sldId="2147483667"/>
            <pc:sldLayoutMk cId="3096007197" sldId="2147483679"/>
          </pc:sldLayoutMkLst>
        </pc:sldLayoutChg>
        <pc:sldLayoutChg chg="del">
          <pc:chgData name="Mikami, Maho" userId="50612f1b-df2d-47bb-8fdd-7ddedc83fc7e" providerId="ADAL" clId="{F7D83F21-36A9-40AE-BD2D-D23C0BEDA3FB}" dt="2024-03-04T03:39:50.542" v="3" actId="18676"/>
          <pc:sldLayoutMkLst>
            <pc:docMk/>
            <pc:sldMasterMk cId="3255063131" sldId="2147483667"/>
            <pc:sldLayoutMk cId="3968018419" sldId="2147483680"/>
          </pc:sldLayoutMkLst>
        </pc:sldLayoutChg>
        <pc:sldLayoutChg chg="del">
          <pc:chgData name="Mikami, Maho" userId="50612f1b-df2d-47bb-8fdd-7ddedc83fc7e" providerId="ADAL" clId="{F7D83F21-36A9-40AE-BD2D-D23C0BEDA3FB}" dt="2024-03-04T03:39:50.542" v="3" actId="18676"/>
          <pc:sldLayoutMkLst>
            <pc:docMk/>
            <pc:sldMasterMk cId="3255063131" sldId="2147483667"/>
            <pc:sldLayoutMk cId="4009546988" sldId="2147483742"/>
          </pc:sldLayoutMkLst>
        </pc:sldLayoutChg>
        <pc:sldLayoutChg chg="del">
          <pc:chgData name="Mikami, Maho" userId="50612f1b-df2d-47bb-8fdd-7ddedc83fc7e" providerId="ADAL" clId="{F7D83F21-36A9-40AE-BD2D-D23C0BEDA3FB}" dt="2024-03-04T03:39:50.542" v="3" actId="18676"/>
          <pc:sldLayoutMkLst>
            <pc:docMk/>
            <pc:sldMasterMk cId="3255063131" sldId="2147483667"/>
            <pc:sldLayoutMk cId="226775646" sldId="2147483743"/>
          </pc:sldLayoutMkLst>
        </pc:sldLayoutChg>
        <pc:sldLayoutChg chg="del">
          <pc:chgData name="Mikami, Maho" userId="50612f1b-df2d-47bb-8fdd-7ddedc83fc7e" providerId="ADAL" clId="{F7D83F21-36A9-40AE-BD2D-D23C0BEDA3FB}" dt="2024-03-04T03:39:50.542" v="3" actId="18676"/>
          <pc:sldLayoutMkLst>
            <pc:docMk/>
            <pc:sldMasterMk cId="3255063131" sldId="2147483667"/>
            <pc:sldLayoutMk cId="2455457935" sldId="2147483744"/>
          </pc:sldLayoutMkLst>
        </pc:sldLayoutChg>
        <pc:sldLayoutChg chg="del">
          <pc:chgData name="Mikami, Maho" userId="50612f1b-df2d-47bb-8fdd-7ddedc83fc7e" providerId="ADAL" clId="{F7D83F21-36A9-40AE-BD2D-D23C0BEDA3FB}" dt="2024-03-04T03:39:50.542" v="3" actId="18676"/>
          <pc:sldLayoutMkLst>
            <pc:docMk/>
            <pc:sldMasterMk cId="3255063131" sldId="2147483667"/>
            <pc:sldLayoutMk cId="3383907151" sldId="2147483824"/>
          </pc:sldLayoutMkLst>
        </pc:sldLayoutChg>
      </pc:sldMasterChg>
      <pc:sldMasterChg chg="delSldLayout">
        <pc:chgData name="Mikami, Maho" userId="50612f1b-df2d-47bb-8fdd-7ddedc83fc7e" providerId="ADAL" clId="{F7D83F21-36A9-40AE-BD2D-D23C0BEDA3FB}" dt="2024-03-04T03:40:11.972" v="9" actId="47"/>
        <pc:sldMasterMkLst>
          <pc:docMk/>
          <pc:sldMasterMk cId="1409019568" sldId="2147483714"/>
        </pc:sldMasterMkLst>
        <pc:sldLayoutChg chg="del">
          <pc:chgData name="Mikami, Maho" userId="50612f1b-df2d-47bb-8fdd-7ddedc83fc7e" providerId="ADAL" clId="{F7D83F21-36A9-40AE-BD2D-D23C0BEDA3FB}" dt="2024-03-04T03:39:47.194" v="1" actId="18676"/>
          <pc:sldLayoutMkLst>
            <pc:docMk/>
            <pc:sldMasterMk cId="1409019568" sldId="2147483714"/>
            <pc:sldLayoutMk cId="2744424327" sldId="2147483715"/>
          </pc:sldLayoutMkLst>
        </pc:sldLayoutChg>
        <pc:sldLayoutChg chg="del">
          <pc:chgData name="Mikami, Maho" userId="50612f1b-df2d-47bb-8fdd-7ddedc83fc7e" providerId="ADAL" clId="{F7D83F21-36A9-40AE-BD2D-D23C0BEDA3FB}" dt="2024-03-04T03:39:52.338" v="4" actId="18676"/>
          <pc:sldLayoutMkLst>
            <pc:docMk/>
            <pc:sldMasterMk cId="1409019568" sldId="2147483714"/>
            <pc:sldLayoutMk cId="1622084675" sldId="2147483821"/>
          </pc:sldLayoutMkLst>
        </pc:sldLayoutChg>
        <pc:sldLayoutChg chg="del">
          <pc:chgData name="Mikami, Maho" userId="50612f1b-df2d-47bb-8fdd-7ddedc83fc7e" providerId="ADAL" clId="{F7D83F21-36A9-40AE-BD2D-D23C0BEDA3FB}" dt="2024-03-04T03:39:52.338" v="4" actId="18676"/>
          <pc:sldLayoutMkLst>
            <pc:docMk/>
            <pc:sldMasterMk cId="1409019568" sldId="2147483714"/>
            <pc:sldLayoutMk cId="3569353491" sldId="2147483822"/>
          </pc:sldLayoutMkLst>
        </pc:sldLayoutChg>
        <pc:sldLayoutChg chg="del">
          <pc:chgData name="Mikami, Maho" userId="50612f1b-df2d-47bb-8fdd-7ddedc83fc7e" providerId="ADAL" clId="{F7D83F21-36A9-40AE-BD2D-D23C0BEDA3FB}" dt="2024-03-04T03:40:11.972" v="9" actId="47"/>
          <pc:sldLayoutMkLst>
            <pc:docMk/>
            <pc:sldMasterMk cId="1409019568" sldId="2147483714"/>
            <pc:sldLayoutMk cId="1204270907" sldId="2147483823"/>
          </pc:sldLayoutMkLst>
        </pc:sldLayoutChg>
      </pc:sldMasterChg>
      <pc:sldMasterChg chg="delSldLayout">
        <pc:chgData name="Mikami, Maho" userId="50612f1b-df2d-47bb-8fdd-7ddedc83fc7e" providerId="ADAL" clId="{F7D83F21-36A9-40AE-BD2D-D23C0BEDA3FB}" dt="2024-03-04T03:40:06.877" v="7" actId="47"/>
        <pc:sldMasterMkLst>
          <pc:docMk/>
          <pc:sldMasterMk cId="3804727514" sldId="2147483716"/>
        </pc:sldMasterMkLst>
        <pc:sldLayoutChg chg="del">
          <pc:chgData name="Mikami, Maho" userId="50612f1b-df2d-47bb-8fdd-7ddedc83fc7e" providerId="ADAL" clId="{F7D83F21-36A9-40AE-BD2D-D23C0BEDA3FB}" dt="2024-03-04T03:40:06.877" v="7" actId="47"/>
          <pc:sldLayoutMkLst>
            <pc:docMk/>
            <pc:sldMasterMk cId="3804727514" sldId="2147483716"/>
            <pc:sldLayoutMk cId="621630544" sldId="2147483790"/>
          </pc:sldLayoutMkLst>
        </pc:sldLayoutChg>
        <pc:sldLayoutChg chg="del">
          <pc:chgData name="Mikami, Maho" userId="50612f1b-df2d-47bb-8fdd-7ddedc83fc7e" providerId="ADAL" clId="{F7D83F21-36A9-40AE-BD2D-D23C0BEDA3FB}" dt="2024-03-04T03:39:59.933" v="5" actId="18676"/>
          <pc:sldLayoutMkLst>
            <pc:docMk/>
            <pc:sldMasterMk cId="3804727514" sldId="2147483716"/>
            <pc:sldLayoutMk cId="4181489371" sldId="2147483792"/>
          </pc:sldLayoutMkLst>
        </pc:sldLayoutChg>
      </pc:sldMasterChg>
      <pc:sldMasterChg chg="del delSldLayout">
        <pc:chgData name="Mikami, Maho" userId="50612f1b-df2d-47bb-8fdd-7ddedc83fc7e" providerId="ADAL" clId="{F7D83F21-36A9-40AE-BD2D-D23C0BEDA3FB}" dt="2024-03-04T03:39:48.782" v="2" actId="18676"/>
        <pc:sldMasterMkLst>
          <pc:docMk/>
          <pc:sldMasterMk cId="1130637653" sldId="2147483719"/>
        </pc:sldMasterMkLst>
        <pc:sldLayoutChg chg="del">
          <pc:chgData name="Mikami, Maho" userId="50612f1b-df2d-47bb-8fdd-7ddedc83fc7e" providerId="ADAL" clId="{F7D83F21-36A9-40AE-BD2D-D23C0BEDA3FB}" dt="2024-03-04T03:39:48.782" v="2" actId="18676"/>
          <pc:sldLayoutMkLst>
            <pc:docMk/>
            <pc:sldMasterMk cId="1130637653" sldId="2147483719"/>
            <pc:sldLayoutMk cId="3428661439" sldId="2147483720"/>
          </pc:sldLayoutMkLst>
        </pc:sldLayoutChg>
        <pc:sldLayoutChg chg="del">
          <pc:chgData name="Mikami, Maho" userId="50612f1b-df2d-47bb-8fdd-7ddedc83fc7e" providerId="ADAL" clId="{F7D83F21-36A9-40AE-BD2D-D23C0BEDA3FB}" dt="2024-03-04T03:39:48.782" v="2" actId="18676"/>
          <pc:sldLayoutMkLst>
            <pc:docMk/>
            <pc:sldMasterMk cId="1130637653" sldId="2147483719"/>
            <pc:sldLayoutMk cId="1398444210" sldId="2147483721"/>
          </pc:sldLayoutMkLst>
        </pc:sldLayoutChg>
        <pc:sldLayoutChg chg="del">
          <pc:chgData name="Mikami, Maho" userId="50612f1b-df2d-47bb-8fdd-7ddedc83fc7e" providerId="ADAL" clId="{F7D83F21-36A9-40AE-BD2D-D23C0BEDA3FB}" dt="2024-03-04T03:39:48.782" v="2" actId="18676"/>
          <pc:sldLayoutMkLst>
            <pc:docMk/>
            <pc:sldMasterMk cId="1130637653" sldId="2147483719"/>
            <pc:sldLayoutMk cId="3566422275" sldId="2147483722"/>
          </pc:sldLayoutMkLst>
        </pc:sldLayoutChg>
        <pc:sldLayoutChg chg="del">
          <pc:chgData name="Mikami, Maho" userId="50612f1b-df2d-47bb-8fdd-7ddedc83fc7e" providerId="ADAL" clId="{F7D83F21-36A9-40AE-BD2D-D23C0BEDA3FB}" dt="2024-03-04T03:39:48.782" v="2" actId="18676"/>
          <pc:sldLayoutMkLst>
            <pc:docMk/>
            <pc:sldMasterMk cId="1130637653" sldId="2147483719"/>
            <pc:sldLayoutMk cId="1244802322" sldId="2147483723"/>
          </pc:sldLayoutMkLst>
        </pc:sldLayoutChg>
        <pc:sldLayoutChg chg="del">
          <pc:chgData name="Mikami, Maho" userId="50612f1b-df2d-47bb-8fdd-7ddedc83fc7e" providerId="ADAL" clId="{F7D83F21-36A9-40AE-BD2D-D23C0BEDA3FB}" dt="2024-03-04T03:39:48.782" v="2" actId="18676"/>
          <pc:sldLayoutMkLst>
            <pc:docMk/>
            <pc:sldMasterMk cId="1130637653" sldId="2147483719"/>
            <pc:sldLayoutMk cId="919984755" sldId="2147483724"/>
          </pc:sldLayoutMkLst>
        </pc:sldLayoutChg>
        <pc:sldLayoutChg chg="del">
          <pc:chgData name="Mikami, Maho" userId="50612f1b-df2d-47bb-8fdd-7ddedc83fc7e" providerId="ADAL" clId="{F7D83F21-36A9-40AE-BD2D-D23C0BEDA3FB}" dt="2024-03-04T03:39:48.782" v="2" actId="18676"/>
          <pc:sldLayoutMkLst>
            <pc:docMk/>
            <pc:sldMasterMk cId="1130637653" sldId="2147483719"/>
            <pc:sldLayoutMk cId="2296966997" sldId="2147483725"/>
          </pc:sldLayoutMkLst>
        </pc:sldLayoutChg>
        <pc:sldLayoutChg chg="del">
          <pc:chgData name="Mikami, Maho" userId="50612f1b-df2d-47bb-8fdd-7ddedc83fc7e" providerId="ADAL" clId="{F7D83F21-36A9-40AE-BD2D-D23C0BEDA3FB}" dt="2024-03-04T03:39:48.782" v="2" actId="18676"/>
          <pc:sldLayoutMkLst>
            <pc:docMk/>
            <pc:sldMasterMk cId="1130637653" sldId="2147483719"/>
            <pc:sldLayoutMk cId="2388636047" sldId="2147483726"/>
          </pc:sldLayoutMkLst>
        </pc:sldLayoutChg>
        <pc:sldLayoutChg chg="del">
          <pc:chgData name="Mikami, Maho" userId="50612f1b-df2d-47bb-8fdd-7ddedc83fc7e" providerId="ADAL" clId="{F7D83F21-36A9-40AE-BD2D-D23C0BEDA3FB}" dt="2024-03-04T03:39:48.782" v="2" actId="18676"/>
          <pc:sldLayoutMkLst>
            <pc:docMk/>
            <pc:sldMasterMk cId="1130637653" sldId="2147483719"/>
            <pc:sldLayoutMk cId="722086246" sldId="2147483727"/>
          </pc:sldLayoutMkLst>
        </pc:sldLayoutChg>
        <pc:sldLayoutChg chg="del">
          <pc:chgData name="Mikami, Maho" userId="50612f1b-df2d-47bb-8fdd-7ddedc83fc7e" providerId="ADAL" clId="{F7D83F21-36A9-40AE-BD2D-D23C0BEDA3FB}" dt="2024-03-04T03:39:48.782" v="2" actId="18676"/>
          <pc:sldLayoutMkLst>
            <pc:docMk/>
            <pc:sldMasterMk cId="1130637653" sldId="2147483719"/>
            <pc:sldLayoutMk cId="460078298" sldId="2147483728"/>
          </pc:sldLayoutMkLst>
        </pc:sldLayoutChg>
        <pc:sldLayoutChg chg="del">
          <pc:chgData name="Mikami, Maho" userId="50612f1b-df2d-47bb-8fdd-7ddedc83fc7e" providerId="ADAL" clId="{F7D83F21-36A9-40AE-BD2D-D23C0BEDA3FB}" dt="2024-03-04T03:39:48.782" v="2" actId="18676"/>
          <pc:sldLayoutMkLst>
            <pc:docMk/>
            <pc:sldMasterMk cId="1130637653" sldId="2147483719"/>
            <pc:sldLayoutMk cId="3985985759" sldId="2147483729"/>
          </pc:sldLayoutMkLst>
        </pc:sldLayoutChg>
        <pc:sldLayoutChg chg="del">
          <pc:chgData name="Mikami, Maho" userId="50612f1b-df2d-47bb-8fdd-7ddedc83fc7e" providerId="ADAL" clId="{F7D83F21-36A9-40AE-BD2D-D23C0BEDA3FB}" dt="2024-03-04T03:39:48.782" v="2" actId="18676"/>
          <pc:sldLayoutMkLst>
            <pc:docMk/>
            <pc:sldMasterMk cId="1130637653" sldId="2147483719"/>
            <pc:sldLayoutMk cId="1002031112" sldId="2147483730"/>
          </pc:sldLayoutMkLst>
        </pc:sldLayoutChg>
        <pc:sldLayoutChg chg="del">
          <pc:chgData name="Mikami, Maho" userId="50612f1b-df2d-47bb-8fdd-7ddedc83fc7e" providerId="ADAL" clId="{F7D83F21-36A9-40AE-BD2D-D23C0BEDA3FB}" dt="2024-03-04T03:39:48.782" v="2" actId="18676"/>
          <pc:sldLayoutMkLst>
            <pc:docMk/>
            <pc:sldMasterMk cId="1130637653" sldId="2147483719"/>
            <pc:sldLayoutMk cId="1323236587" sldId="2147483731"/>
          </pc:sldLayoutMkLst>
        </pc:sldLayoutChg>
        <pc:sldLayoutChg chg="del">
          <pc:chgData name="Mikami, Maho" userId="50612f1b-df2d-47bb-8fdd-7ddedc83fc7e" providerId="ADAL" clId="{F7D83F21-36A9-40AE-BD2D-D23C0BEDA3FB}" dt="2024-03-04T03:39:48.782" v="2" actId="18676"/>
          <pc:sldLayoutMkLst>
            <pc:docMk/>
            <pc:sldMasterMk cId="1130637653" sldId="2147483719"/>
            <pc:sldLayoutMk cId="3594954394" sldId="2147483732"/>
          </pc:sldLayoutMkLst>
        </pc:sldLayoutChg>
      </pc:sldMasterChg>
      <pc:sldMasterChg chg="delSldLayout">
        <pc:chgData name="Mikami, Maho" userId="50612f1b-df2d-47bb-8fdd-7ddedc83fc7e" providerId="ADAL" clId="{F7D83F21-36A9-40AE-BD2D-D23C0BEDA3FB}" dt="2024-03-04T03:40:03.934" v="6" actId="18676"/>
        <pc:sldMasterMkLst>
          <pc:docMk/>
          <pc:sldMasterMk cId="2162003807" sldId="2147483755"/>
        </pc:sldMasterMkLst>
        <pc:sldLayoutChg chg="del">
          <pc:chgData name="Mikami, Maho" userId="50612f1b-df2d-47bb-8fdd-7ddedc83fc7e" providerId="ADAL" clId="{F7D83F21-36A9-40AE-BD2D-D23C0BEDA3FB}" dt="2024-03-04T03:40:03.934" v="6" actId="18676"/>
          <pc:sldLayoutMkLst>
            <pc:docMk/>
            <pc:sldMasterMk cId="2162003807" sldId="2147483755"/>
            <pc:sldLayoutMk cId="2298266385" sldId="2147483793"/>
          </pc:sldLayoutMkLst>
        </pc:sldLayoutChg>
      </pc:sldMasterChg>
      <pc:sldMasterChg chg="delSldLayout">
        <pc:chgData name="Mikami, Maho" userId="50612f1b-df2d-47bb-8fdd-7ddedc83fc7e" providerId="ADAL" clId="{F7D83F21-36A9-40AE-BD2D-D23C0BEDA3FB}" dt="2024-03-04T03:40:08.758" v="8" actId="18676"/>
        <pc:sldMasterMkLst>
          <pc:docMk/>
          <pc:sldMasterMk cId="1323487226" sldId="2147483794"/>
        </pc:sldMasterMkLst>
        <pc:sldLayoutChg chg="del">
          <pc:chgData name="Mikami, Maho" userId="50612f1b-df2d-47bb-8fdd-7ddedc83fc7e" providerId="ADAL" clId="{F7D83F21-36A9-40AE-BD2D-D23C0BEDA3FB}" dt="2024-03-04T03:40:08.758" v="8" actId="18676"/>
          <pc:sldLayoutMkLst>
            <pc:docMk/>
            <pc:sldMasterMk cId="1323487226" sldId="2147483794"/>
            <pc:sldLayoutMk cId="4287832297" sldId="2147483808"/>
          </pc:sldLayoutMkLst>
        </pc:sldLayoutChg>
      </pc:sldMasterChg>
      <pc:sldMasterChg chg="del delSldLayout">
        <pc:chgData name="Mikami, Maho" userId="50612f1b-df2d-47bb-8fdd-7ddedc83fc7e" providerId="ADAL" clId="{F7D83F21-36A9-40AE-BD2D-D23C0BEDA3FB}" dt="2024-03-04T03:39:48.782" v="2" actId="18676"/>
        <pc:sldMasterMkLst>
          <pc:docMk/>
          <pc:sldMasterMk cId="1902307208" sldId="2147483809"/>
        </pc:sldMasterMkLst>
        <pc:sldLayoutChg chg="del">
          <pc:chgData name="Mikami, Maho" userId="50612f1b-df2d-47bb-8fdd-7ddedc83fc7e" providerId="ADAL" clId="{F7D83F21-36A9-40AE-BD2D-D23C0BEDA3FB}" dt="2024-03-04T03:39:48.782" v="2" actId="18676"/>
          <pc:sldLayoutMkLst>
            <pc:docMk/>
            <pc:sldMasterMk cId="1902307208" sldId="2147483809"/>
            <pc:sldLayoutMk cId="3878583577" sldId="2147483810"/>
          </pc:sldLayoutMkLst>
        </pc:sldLayoutChg>
        <pc:sldLayoutChg chg="del">
          <pc:chgData name="Mikami, Maho" userId="50612f1b-df2d-47bb-8fdd-7ddedc83fc7e" providerId="ADAL" clId="{F7D83F21-36A9-40AE-BD2D-D23C0BEDA3FB}" dt="2024-03-04T03:39:48.782" v="2" actId="18676"/>
          <pc:sldLayoutMkLst>
            <pc:docMk/>
            <pc:sldMasterMk cId="1902307208" sldId="2147483809"/>
            <pc:sldLayoutMk cId="3477627534" sldId="2147483811"/>
          </pc:sldLayoutMkLst>
        </pc:sldLayoutChg>
        <pc:sldLayoutChg chg="del">
          <pc:chgData name="Mikami, Maho" userId="50612f1b-df2d-47bb-8fdd-7ddedc83fc7e" providerId="ADAL" clId="{F7D83F21-36A9-40AE-BD2D-D23C0BEDA3FB}" dt="2024-03-04T03:39:48.782" v="2" actId="18676"/>
          <pc:sldLayoutMkLst>
            <pc:docMk/>
            <pc:sldMasterMk cId="1902307208" sldId="2147483809"/>
            <pc:sldLayoutMk cId="1806932154" sldId="2147483812"/>
          </pc:sldLayoutMkLst>
        </pc:sldLayoutChg>
        <pc:sldLayoutChg chg="del">
          <pc:chgData name="Mikami, Maho" userId="50612f1b-df2d-47bb-8fdd-7ddedc83fc7e" providerId="ADAL" clId="{F7D83F21-36A9-40AE-BD2D-D23C0BEDA3FB}" dt="2024-03-04T03:39:48.782" v="2" actId="18676"/>
          <pc:sldLayoutMkLst>
            <pc:docMk/>
            <pc:sldMasterMk cId="1902307208" sldId="2147483809"/>
            <pc:sldLayoutMk cId="1482579408" sldId="2147483813"/>
          </pc:sldLayoutMkLst>
        </pc:sldLayoutChg>
        <pc:sldLayoutChg chg="del">
          <pc:chgData name="Mikami, Maho" userId="50612f1b-df2d-47bb-8fdd-7ddedc83fc7e" providerId="ADAL" clId="{F7D83F21-36A9-40AE-BD2D-D23C0BEDA3FB}" dt="2024-03-04T03:39:48.782" v="2" actId="18676"/>
          <pc:sldLayoutMkLst>
            <pc:docMk/>
            <pc:sldMasterMk cId="1902307208" sldId="2147483809"/>
            <pc:sldLayoutMk cId="4130844186" sldId="2147483814"/>
          </pc:sldLayoutMkLst>
        </pc:sldLayoutChg>
        <pc:sldLayoutChg chg="del">
          <pc:chgData name="Mikami, Maho" userId="50612f1b-df2d-47bb-8fdd-7ddedc83fc7e" providerId="ADAL" clId="{F7D83F21-36A9-40AE-BD2D-D23C0BEDA3FB}" dt="2024-03-04T03:39:48.782" v="2" actId="18676"/>
          <pc:sldLayoutMkLst>
            <pc:docMk/>
            <pc:sldMasterMk cId="1902307208" sldId="2147483809"/>
            <pc:sldLayoutMk cId="3704785445" sldId="2147483815"/>
          </pc:sldLayoutMkLst>
        </pc:sldLayoutChg>
        <pc:sldLayoutChg chg="del">
          <pc:chgData name="Mikami, Maho" userId="50612f1b-df2d-47bb-8fdd-7ddedc83fc7e" providerId="ADAL" clId="{F7D83F21-36A9-40AE-BD2D-D23C0BEDA3FB}" dt="2024-03-04T03:39:48.782" v="2" actId="18676"/>
          <pc:sldLayoutMkLst>
            <pc:docMk/>
            <pc:sldMasterMk cId="1902307208" sldId="2147483809"/>
            <pc:sldLayoutMk cId="1068605463" sldId="2147483816"/>
          </pc:sldLayoutMkLst>
        </pc:sldLayoutChg>
        <pc:sldLayoutChg chg="del">
          <pc:chgData name="Mikami, Maho" userId="50612f1b-df2d-47bb-8fdd-7ddedc83fc7e" providerId="ADAL" clId="{F7D83F21-36A9-40AE-BD2D-D23C0BEDA3FB}" dt="2024-03-04T03:39:48.782" v="2" actId="18676"/>
          <pc:sldLayoutMkLst>
            <pc:docMk/>
            <pc:sldMasterMk cId="1902307208" sldId="2147483809"/>
            <pc:sldLayoutMk cId="1661531452" sldId="2147483817"/>
          </pc:sldLayoutMkLst>
        </pc:sldLayoutChg>
        <pc:sldLayoutChg chg="del">
          <pc:chgData name="Mikami, Maho" userId="50612f1b-df2d-47bb-8fdd-7ddedc83fc7e" providerId="ADAL" clId="{F7D83F21-36A9-40AE-BD2D-D23C0BEDA3FB}" dt="2024-03-04T03:39:48.782" v="2" actId="18676"/>
          <pc:sldLayoutMkLst>
            <pc:docMk/>
            <pc:sldMasterMk cId="1902307208" sldId="2147483809"/>
            <pc:sldLayoutMk cId="2803917072" sldId="2147483818"/>
          </pc:sldLayoutMkLst>
        </pc:sldLayoutChg>
        <pc:sldLayoutChg chg="del">
          <pc:chgData name="Mikami, Maho" userId="50612f1b-df2d-47bb-8fdd-7ddedc83fc7e" providerId="ADAL" clId="{F7D83F21-36A9-40AE-BD2D-D23C0BEDA3FB}" dt="2024-03-04T03:39:48.782" v="2" actId="18676"/>
          <pc:sldLayoutMkLst>
            <pc:docMk/>
            <pc:sldMasterMk cId="1902307208" sldId="2147483809"/>
            <pc:sldLayoutMk cId="2815699561" sldId="2147483819"/>
          </pc:sldLayoutMkLst>
        </pc:sldLayoutChg>
        <pc:sldLayoutChg chg="del">
          <pc:chgData name="Mikami, Maho" userId="50612f1b-df2d-47bb-8fdd-7ddedc83fc7e" providerId="ADAL" clId="{F7D83F21-36A9-40AE-BD2D-D23C0BEDA3FB}" dt="2024-03-04T03:39:48.782" v="2" actId="18676"/>
          <pc:sldLayoutMkLst>
            <pc:docMk/>
            <pc:sldMasterMk cId="1902307208" sldId="2147483809"/>
            <pc:sldLayoutMk cId="2090377025" sldId="2147483820"/>
          </pc:sldLayoutMkLst>
        </pc:sldLayoutChg>
      </pc:sldMasterChg>
    </pc:docChg>
  </pc:docChgLst>
  <pc:docChgLst>
    <pc:chgData name="内山 裕弥" userId="8d34b9d0-ec49-418d-b1de-019cf6b56da5" providerId="ADAL" clId="{EE417D81-9D62-44B5-9A36-43CC1B66E142}"/>
    <pc:docChg chg="undo custSel addSld modSld delMainMaster modMainMaster addSection modSection">
      <pc:chgData name="内山 裕弥" userId="8d34b9d0-ec49-418d-b1de-019cf6b56da5" providerId="ADAL" clId="{EE417D81-9D62-44B5-9A36-43CC1B66E142}" dt="2024-07-19T11:18:22.167" v="10519" actId="14100"/>
      <pc:docMkLst>
        <pc:docMk/>
      </pc:docMkLst>
      <pc:sldChg chg="addSp delSp modSp mod chgLayout">
        <pc:chgData name="内山 裕弥" userId="8d34b9d0-ec49-418d-b1de-019cf6b56da5" providerId="ADAL" clId="{EE417D81-9D62-44B5-9A36-43CC1B66E142}" dt="2024-07-19T11:18:22.167" v="10519" actId="14100"/>
        <pc:sldMkLst>
          <pc:docMk/>
          <pc:sldMk cId="2355786622" sldId="2146847413"/>
        </pc:sldMkLst>
        <pc:spChg chg="mod ord">
          <ac:chgData name="内山 裕弥" userId="8d34b9d0-ec49-418d-b1de-019cf6b56da5" providerId="ADAL" clId="{EE417D81-9D62-44B5-9A36-43CC1B66E142}" dt="2024-07-19T11:15:31.518" v="10006" actId="207"/>
          <ac:spMkLst>
            <pc:docMk/>
            <pc:sldMk cId="2355786622" sldId="2146847413"/>
            <ac:spMk id="2" creationId="{1F2F2840-6B61-4DF2-B42A-EAA99F678FEE}"/>
          </ac:spMkLst>
        </pc:spChg>
        <pc:spChg chg="mod ord">
          <ac:chgData name="内山 裕弥" userId="8d34b9d0-ec49-418d-b1de-019cf6b56da5" providerId="ADAL" clId="{EE417D81-9D62-44B5-9A36-43CC1B66E142}" dt="2024-07-19T11:15:38.629" v="10007" actId="207"/>
          <ac:spMkLst>
            <pc:docMk/>
            <pc:sldMk cId="2355786622" sldId="2146847413"/>
            <ac:spMk id="3" creationId="{C57F1E1F-3521-45C1-9CD2-360C7A8ED649}"/>
          </ac:spMkLst>
        </pc:spChg>
        <pc:spChg chg="add del mod">
          <ac:chgData name="内山 裕弥" userId="8d34b9d0-ec49-418d-b1de-019cf6b56da5" providerId="ADAL" clId="{EE417D81-9D62-44B5-9A36-43CC1B66E142}" dt="2024-07-19T04:04:46.242" v="141" actId="21"/>
          <ac:spMkLst>
            <pc:docMk/>
            <pc:sldMk cId="2355786622" sldId="2146847413"/>
            <ac:spMk id="4" creationId="{DED48003-3CB7-EDBE-9AC0-7914BBD5B5A2}"/>
          </ac:spMkLst>
        </pc:spChg>
        <pc:spChg chg="mod ord">
          <ac:chgData name="内山 裕弥" userId="8d34b9d0-ec49-418d-b1de-019cf6b56da5" providerId="ADAL" clId="{EE417D81-9D62-44B5-9A36-43CC1B66E142}" dt="2024-07-19T11:15:28.803" v="10005" actId="207"/>
          <ac:spMkLst>
            <pc:docMk/>
            <pc:sldMk cId="2355786622" sldId="2146847413"/>
            <ac:spMk id="5" creationId="{9481A0E3-366D-4687-A4B2-6C58A1A7C6CC}"/>
          </ac:spMkLst>
        </pc:spChg>
        <pc:spChg chg="add mod">
          <ac:chgData name="内山 裕弥" userId="8d34b9d0-ec49-418d-b1de-019cf6b56da5" providerId="ADAL" clId="{EE417D81-9D62-44B5-9A36-43CC1B66E142}" dt="2024-07-19T11:18:22.167" v="10519" actId="14100"/>
          <ac:spMkLst>
            <pc:docMk/>
            <pc:sldMk cId="2355786622" sldId="2146847413"/>
            <ac:spMk id="8" creationId="{62B98AA6-9065-164D-2986-27FFD7882C1B}"/>
          </ac:spMkLst>
        </pc:spChg>
        <pc:picChg chg="add del mod">
          <ac:chgData name="内山 裕弥" userId="8d34b9d0-ec49-418d-b1de-019cf6b56da5" providerId="ADAL" clId="{EE417D81-9D62-44B5-9A36-43CC1B66E142}" dt="2024-07-19T04:04:46.242" v="141" actId="21"/>
          <ac:picMkLst>
            <pc:docMk/>
            <pc:sldMk cId="2355786622" sldId="2146847413"/>
            <ac:picMk id="7" creationId="{7B47AA47-9735-D8CB-A9C8-454567CF27D0}"/>
          </ac:picMkLst>
        </pc:picChg>
      </pc:sldChg>
      <pc:sldChg chg="addSp delSp modSp mod">
        <pc:chgData name="内山 裕弥" userId="8d34b9d0-ec49-418d-b1de-019cf6b56da5" providerId="ADAL" clId="{EE417D81-9D62-44B5-9A36-43CC1B66E142}" dt="2024-07-19T04:51:37.990" v="4768" actId="1076"/>
        <pc:sldMkLst>
          <pc:docMk/>
          <pc:sldMk cId="2852443830" sldId="2147378632"/>
        </pc:sldMkLst>
        <pc:spChg chg="add mod">
          <ac:chgData name="内山 裕弥" userId="8d34b9d0-ec49-418d-b1de-019cf6b56da5" providerId="ADAL" clId="{EE417D81-9D62-44B5-9A36-43CC1B66E142}" dt="2024-07-19T04:51:37.990" v="4768" actId="1076"/>
          <ac:spMkLst>
            <pc:docMk/>
            <pc:sldMk cId="2852443830" sldId="2147378632"/>
            <ac:spMk id="3" creationId="{17F7BD63-A43F-D667-8278-6E77C003EFBB}"/>
          </ac:spMkLst>
        </pc:spChg>
        <pc:spChg chg="del mod">
          <ac:chgData name="内山 裕弥" userId="8d34b9d0-ec49-418d-b1de-019cf6b56da5" providerId="ADAL" clId="{EE417D81-9D62-44B5-9A36-43CC1B66E142}" dt="2024-07-19T04:51:34.780" v="4767" actId="21"/>
          <ac:spMkLst>
            <pc:docMk/>
            <pc:sldMk cId="2852443830" sldId="2147378632"/>
            <ac:spMk id="4" creationId="{54D1E966-F06A-4384-EB57-E91592F612E9}"/>
          </ac:spMkLst>
        </pc:spChg>
        <pc:spChg chg="mod">
          <ac:chgData name="内山 裕弥" userId="8d34b9d0-ec49-418d-b1de-019cf6b56da5" providerId="ADAL" clId="{EE417D81-9D62-44B5-9A36-43CC1B66E142}" dt="2024-07-19T04:51:13.145" v="4745"/>
          <ac:spMkLst>
            <pc:docMk/>
            <pc:sldMk cId="2852443830" sldId="2147378632"/>
            <ac:spMk id="7" creationId="{7F81DA45-2EDB-3376-10B4-C61FAB506B4F}"/>
          </ac:spMkLst>
        </pc:spChg>
      </pc:sldChg>
      <pc:sldChg chg="modSp mod">
        <pc:chgData name="内山 裕弥" userId="8d34b9d0-ec49-418d-b1de-019cf6b56da5" providerId="ADAL" clId="{EE417D81-9D62-44B5-9A36-43CC1B66E142}" dt="2024-07-19T11:16:57.311" v="10084" actId="20577"/>
        <pc:sldMkLst>
          <pc:docMk/>
          <pc:sldMk cId="1869527861" sldId="2147378640"/>
        </pc:sldMkLst>
        <pc:spChg chg="mod">
          <ac:chgData name="内山 裕弥" userId="8d34b9d0-ec49-418d-b1de-019cf6b56da5" providerId="ADAL" clId="{EE417D81-9D62-44B5-9A36-43CC1B66E142}" dt="2024-07-19T04:40:15.538" v="3988" actId="14100"/>
          <ac:spMkLst>
            <pc:docMk/>
            <pc:sldMk cId="1869527861" sldId="2147378640"/>
            <ac:spMk id="9" creationId="{67FD600D-F712-D335-9DCD-5DDA57077E60}"/>
          </ac:spMkLst>
        </pc:spChg>
        <pc:spChg chg="mod">
          <ac:chgData name="内山 裕弥" userId="8d34b9d0-ec49-418d-b1de-019cf6b56da5" providerId="ADAL" clId="{EE417D81-9D62-44B5-9A36-43CC1B66E142}" dt="2024-07-19T11:16:57.311" v="10084" actId="20577"/>
          <ac:spMkLst>
            <pc:docMk/>
            <pc:sldMk cId="1869527861" sldId="2147378640"/>
            <ac:spMk id="10" creationId="{80E6EF29-A9F8-46B2-8DDE-5092A65E485F}"/>
          </ac:spMkLst>
        </pc:spChg>
      </pc:sldChg>
      <pc:sldChg chg="modSp mod">
        <pc:chgData name="内山 裕弥" userId="8d34b9d0-ec49-418d-b1de-019cf6b56da5" providerId="ADAL" clId="{EE417D81-9D62-44B5-9A36-43CC1B66E142}" dt="2024-07-19T11:16:26.199" v="10062" actId="20577"/>
        <pc:sldMkLst>
          <pc:docMk/>
          <pc:sldMk cId="2854292604" sldId="2147378652"/>
        </pc:sldMkLst>
        <pc:spChg chg="mod">
          <ac:chgData name="内山 裕弥" userId="8d34b9d0-ec49-418d-b1de-019cf6b56da5" providerId="ADAL" clId="{EE417D81-9D62-44B5-9A36-43CC1B66E142}" dt="2024-07-19T04:40:25.916" v="3993" actId="1076"/>
          <ac:spMkLst>
            <pc:docMk/>
            <pc:sldMk cId="2854292604" sldId="2147378652"/>
            <ac:spMk id="9" creationId="{6DCCCEAA-508F-3EF7-C914-6C10291DD5BF}"/>
          </ac:spMkLst>
        </pc:spChg>
        <pc:spChg chg="mod">
          <ac:chgData name="内山 裕弥" userId="8d34b9d0-ec49-418d-b1de-019cf6b56da5" providerId="ADAL" clId="{EE417D81-9D62-44B5-9A36-43CC1B66E142}" dt="2024-07-19T11:16:26.199" v="10062" actId="20577"/>
          <ac:spMkLst>
            <pc:docMk/>
            <pc:sldMk cId="2854292604" sldId="2147378652"/>
            <ac:spMk id="10" creationId="{3FBABAD3-5FB4-0114-9B7B-795B1762F04A}"/>
          </ac:spMkLst>
        </pc:spChg>
      </pc:sldChg>
      <pc:sldChg chg="addSp delSp modSp mod">
        <pc:chgData name="内山 裕弥" userId="8d34b9d0-ec49-418d-b1de-019cf6b56da5" providerId="ADAL" clId="{EE417D81-9D62-44B5-9A36-43CC1B66E142}" dt="2024-07-19T11:16:18.998" v="10048" actId="20577"/>
        <pc:sldMkLst>
          <pc:docMk/>
          <pc:sldMk cId="1245055399" sldId="2147378653"/>
        </pc:sldMkLst>
        <pc:spChg chg="add del">
          <ac:chgData name="内山 裕弥" userId="8d34b9d0-ec49-418d-b1de-019cf6b56da5" providerId="ADAL" clId="{EE417D81-9D62-44B5-9A36-43CC1B66E142}" dt="2024-07-19T11:16:14.681" v="10033" actId="22"/>
          <ac:spMkLst>
            <pc:docMk/>
            <pc:sldMk cId="1245055399" sldId="2147378653"/>
            <ac:spMk id="4" creationId="{738DE78E-E50E-5A87-F1BE-28816A3F14C6}"/>
          </ac:spMkLst>
        </pc:spChg>
        <pc:spChg chg="add del">
          <ac:chgData name="内山 裕弥" userId="8d34b9d0-ec49-418d-b1de-019cf6b56da5" providerId="ADAL" clId="{EE417D81-9D62-44B5-9A36-43CC1B66E142}" dt="2024-07-19T11:16:15.794" v="10035" actId="22"/>
          <ac:spMkLst>
            <pc:docMk/>
            <pc:sldMk cId="1245055399" sldId="2147378653"/>
            <ac:spMk id="6" creationId="{F648AF59-6C65-903E-7F5A-DD12983A2099}"/>
          </ac:spMkLst>
        </pc:spChg>
        <pc:spChg chg="mod">
          <ac:chgData name="内山 裕弥" userId="8d34b9d0-ec49-418d-b1de-019cf6b56da5" providerId="ADAL" clId="{EE417D81-9D62-44B5-9A36-43CC1B66E142}" dt="2024-07-19T04:57:55.065" v="5532" actId="1076"/>
          <ac:spMkLst>
            <pc:docMk/>
            <pc:sldMk cId="1245055399" sldId="2147378653"/>
            <ac:spMk id="9" creationId="{B79A90FB-8F87-BD8C-CDDB-781282C516A5}"/>
          </ac:spMkLst>
        </pc:spChg>
        <pc:spChg chg="mod">
          <ac:chgData name="内山 裕弥" userId="8d34b9d0-ec49-418d-b1de-019cf6b56da5" providerId="ADAL" clId="{EE417D81-9D62-44B5-9A36-43CC1B66E142}" dt="2024-07-19T11:16:18.998" v="10048" actId="20577"/>
          <ac:spMkLst>
            <pc:docMk/>
            <pc:sldMk cId="1245055399" sldId="2147378653"/>
            <ac:spMk id="10" creationId="{F4A72386-C363-032B-B0E0-9FB1031C9979}"/>
          </ac:spMkLst>
        </pc:spChg>
      </pc:sldChg>
      <pc:sldChg chg="modSp mod">
        <pc:chgData name="内山 裕弥" userId="8d34b9d0-ec49-418d-b1de-019cf6b56da5" providerId="ADAL" clId="{EE417D81-9D62-44B5-9A36-43CC1B66E142}" dt="2024-07-19T11:16:47.229" v="10070" actId="1076"/>
        <pc:sldMkLst>
          <pc:docMk/>
          <pc:sldMk cId="1786860980" sldId="2147378654"/>
        </pc:sldMkLst>
        <pc:spChg chg="mod">
          <ac:chgData name="内山 裕弥" userId="8d34b9d0-ec49-418d-b1de-019cf6b56da5" providerId="ADAL" clId="{EE417D81-9D62-44B5-9A36-43CC1B66E142}" dt="2024-07-19T11:16:47.229" v="10070" actId="1076"/>
          <ac:spMkLst>
            <pc:docMk/>
            <pc:sldMk cId="1786860980" sldId="2147378654"/>
            <ac:spMk id="9" creationId="{78D88DDB-A6F4-93E9-67F8-646493CF2FF7}"/>
          </ac:spMkLst>
        </pc:spChg>
        <pc:spChg chg="mod">
          <ac:chgData name="内山 裕弥" userId="8d34b9d0-ec49-418d-b1de-019cf6b56da5" providerId="ADAL" clId="{EE417D81-9D62-44B5-9A36-43CC1B66E142}" dt="2024-07-19T11:16:43.320" v="10069" actId="20577"/>
          <ac:spMkLst>
            <pc:docMk/>
            <pc:sldMk cId="1786860980" sldId="2147378654"/>
            <ac:spMk id="10" creationId="{C1084721-7EDF-0DAE-BBA0-0ED1A14E3AE7}"/>
          </ac:spMkLst>
        </pc:spChg>
      </pc:sldChg>
      <pc:sldChg chg="modSp mod">
        <pc:chgData name="内山 裕弥" userId="8d34b9d0-ec49-418d-b1de-019cf6b56da5" providerId="ADAL" clId="{EE417D81-9D62-44B5-9A36-43CC1B66E142}" dt="2024-07-19T04:10:18.205" v="258" actId="14734"/>
        <pc:sldMkLst>
          <pc:docMk/>
          <pc:sldMk cId="1132711422" sldId="2147378657"/>
        </pc:sldMkLst>
        <pc:graphicFrameChg chg="modGraphic">
          <ac:chgData name="内山 裕弥" userId="8d34b9d0-ec49-418d-b1de-019cf6b56da5" providerId="ADAL" clId="{EE417D81-9D62-44B5-9A36-43CC1B66E142}" dt="2024-07-19T04:10:18.205" v="258" actId="14734"/>
          <ac:graphicFrameMkLst>
            <pc:docMk/>
            <pc:sldMk cId="1132711422" sldId="2147378657"/>
            <ac:graphicFrameMk id="13" creationId="{6B84DF48-8B2E-7483-E19E-A4C36C91AA03}"/>
          </ac:graphicFrameMkLst>
        </pc:graphicFrameChg>
      </pc:sldChg>
      <pc:sldChg chg="addSp modSp mod">
        <pc:chgData name="内山 裕弥" userId="8d34b9d0-ec49-418d-b1de-019cf6b56da5" providerId="ADAL" clId="{EE417D81-9D62-44B5-9A36-43CC1B66E142}" dt="2024-07-19T04:19:42.051" v="922" actId="20577"/>
        <pc:sldMkLst>
          <pc:docMk/>
          <pc:sldMk cId="2948473411" sldId="2147378680"/>
        </pc:sldMkLst>
        <pc:spChg chg="mod">
          <ac:chgData name="内山 裕弥" userId="8d34b9d0-ec49-418d-b1de-019cf6b56da5" providerId="ADAL" clId="{EE417D81-9D62-44B5-9A36-43CC1B66E142}" dt="2024-07-19T04:18:43.349" v="746" actId="1076"/>
          <ac:spMkLst>
            <pc:docMk/>
            <pc:sldMk cId="2948473411" sldId="2147378680"/>
            <ac:spMk id="7" creationId="{BC211F3A-D242-7373-8291-F217BC706F6C}"/>
          </ac:spMkLst>
        </pc:spChg>
        <pc:spChg chg="mod">
          <ac:chgData name="内山 裕弥" userId="8d34b9d0-ec49-418d-b1de-019cf6b56da5" providerId="ADAL" clId="{EE417D81-9D62-44B5-9A36-43CC1B66E142}" dt="2024-07-19T04:15:00.878" v="351" actId="1076"/>
          <ac:spMkLst>
            <pc:docMk/>
            <pc:sldMk cId="2948473411" sldId="2147378680"/>
            <ac:spMk id="8" creationId="{57C4ADC8-1E9A-3990-E8C9-6E4184E05599}"/>
          </ac:spMkLst>
        </pc:spChg>
        <pc:spChg chg="mod">
          <ac:chgData name="内山 裕弥" userId="8d34b9d0-ec49-418d-b1de-019cf6b56da5" providerId="ADAL" clId="{EE417D81-9D62-44B5-9A36-43CC1B66E142}" dt="2024-07-19T04:14:46.465" v="349" actId="404"/>
          <ac:spMkLst>
            <pc:docMk/>
            <pc:sldMk cId="2948473411" sldId="2147378680"/>
            <ac:spMk id="10" creationId="{28CF45C0-4247-EF18-C203-ADFA691CEF61}"/>
          </ac:spMkLst>
        </pc:spChg>
        <pc:spChg chg="mod">
          <ac:chgData name="内山 裕弥" userId="8d34b9d0-ec49-418d-b1de-019cf6b56da5" providerId="ADAL" clId="{EE417D81-9D62-44B5-9A36-43CC1B66E142}" dt="2024-07-19T04:15:17.427" v="355" actId="21"/>
          <ac:spMkLst>
            <pc:docMk/>
            <pc:sldMk cId="2948473411" sldId="2147378680"/>
            <ac:spMk id="12" creationId="{ED568297-6BE7-885A-589B-885678064B91}"/>
          </ac:spMkLst>
        </pc:spChg>
        <pc:spChg chg="add mod">
          <ac:chgData name="内山 裕弥" userId="8d34b9d0-ec49-418d-b1de-019cf6b56da5" providerId="ADAL" clId="{EE417D81-9D62-44B5-9A36-43CC1B66E142}" dt="2024-07-19T04:18:47.576" v="747"/>
          <ac:spMkLst>
            <pc:docMk/>
            <pc:sldMk cId="2948473411" sldId="2147378680"/>
            <ac:spMk id="14" creationId="{C5AE03D3-7F7A-F51B-E6D0-B212D7BC9438}"/>
          </ac:spMkLst>
        </pc:spChg>
        <pc:spChg chg="add mod">
          <ac:chgData name="内山 裕弥" userId="8d34b9d0-ec49-418d-b1de-019cf6b56da5" providerId="ADAL" clId="{EE417D81-9D62-44B5-9A36-43CC1B66E142}" dt="2024-07-19T04:19:23.248" v="832" actId="20577"/>
          <ac:spMkLst>
            <pc:docMk/>
            <pc:sldMk cId="2948473411" sldId="2147378680"/>
            <ac:spMk id="15" creationId="{66FA0C50-D6E3-F885-BF2A-13158B2BEF9D}"/>
          </ac:spMkLst>
        </pc:spChg>
        <pc:spChg chg="add mod">
          <ac:chgData name="内山 裕弥" userId="8d34b9d0-ec49-418d-b1de-019cf6b56da5" providerId="ADAL" clId="{EE417D81-9D62-44B5-9A36-43CC1B66E142}" dt="2024-07-19T04:19:42.051" v="922" actId="20577"/>
          <ac:spMkLst>
            <pc:docMk/>
            <pc:sldMk cId="2948473411" sldId="2147378680"/>
            <ac:spMk id="16" creationId="{54E39AEB-AFC8-8038-0F64-A8ED1F9F246A}"/>
          </ac:spMkLst>
        </pc:spChg>
        <pc:grpChg chg="add mod">
          <ac:chgData name="内山 裕弥" userId="8d34b9d0-ec49-418d-b1de-019cf6b56da5" providerId="ADAL" clId="{EE417D81-9D62-44B5-9A36-43CC1B66E142}" dt="2024-07-19T04:15:00.878" v="351" actId="1076"/>
          <ac:grpSpMkLst>
            <pc:docMk/>
            <pc:sldMk cId="2948473411" sldId="2147378680"/>
            <ac:grpSpMk id="3" creationId="{E30EFB46-2249-4389-3DF3-FEAEF8770046}"/>
          </ac:grpSpMkLst>
        </pc:grpChg>
        <pc:grpChg chg="mod">
          <ac:chgData name="内山 裕弥" userId="8d34b9d0-ec49-418d-b1de-019cf6b56da5" providerId="ADAL" clId="{EE417D81-9D62-44B5-9A36-43CC1B66E142}" dt="2024-07-19T04:15:00.878" v="351" actId="1076"/>
          <ac:grpSpMkLst>
            <pc:docMk/>
            <pc:sldMk cId="2948473411" sldId="2147378680"/>
            <ac:grpSpMk id="4" creationId="{B6388F1D-16DF-539B-B4B9-E9558C59B409}"/>
          </ac:grpSpMkLst>
        </pc:grpChg>
        <pc:grpChg chg="mod">
          <ac:chgData name="内山 裕弥" userId="8d34b9d0-ec49-418d-b1de-019cf6b56da5" providerId="ADAL" clId="{EE417D81-9D62-44B5-9A36-43CC1B66E142}" dt="2024-07-19T04:15:00.878" v="351" actId="1076"/>
          <ac:grpSpMkLst>
            <pc:docMk/>
            <pc:sldMk cId="2948473411" sldId="2147378680"/>
            <ac:grpSpMk id="6" creationId="{80216175-DE75-DF2F-D622-563F97C284CD}"/>
          </ac:grpSpMkLst>
        </pc:grpChg>
        <pc:cxnChg chg="mod">
          <ac:chgData name="内山 裕弥" userId="8d34b9d0-ec49-418d-b1de-019cf6b56da5" providerId="ADAL" clId="{EE417D81-9D62-44B5-9A36-43CC1B66E142}" dt="2024-07-19T04:15:00.878" v="351" actId="1076"/>
          <ac:cxnSpMkLst>
            <pc:docMk/>
            <pc:sldMk cId="2948473411" sldId="2147378680"/>
            <ac:cxnSpMk id="11" creationId="{2F583047-B675-76FE-6BB4-1B0EE0DEA009}"/>
          </ac:cxnSpMkLst>
        </pc:cxnChg>
        <pc:cxnChg chg="mod">
          <ac:chgData name="内山 裕弥" userId="8d34b9d0-ec49-418d-b1de-019cf6b56da5" providerId="ADAL" clId="{EE417D81-9D62-44B5-9A36-43CC1B66E142}" dt="2024-07-19T04:15:00.878" v="351" actId="1076"/>
          <ac:cxnSpMkLst>
            <pc:docMk/>
            <pc:sldMk cId="2948473411" sldId="2147378680"/>
            <ac:cxnSpMk id="13" creationId="{7730E106-5A99-0E88-94C7-CE870A82BC70}"/>
          </ac:cxnSpMkLst>
        </pc:cxnChg>
      </pc:sldChg>
      <pc:sldChg chg="addSp modSp mod">
        <pc:chgData name="内山 裕弥" userId="8d34b9d0-ec49-418d-b1de-019cf6b56da5" providerId="ADAL" clId="{EE417D81-9D62-44B5-9A36-43CC1B66E142}" dt="2024-07-19T04:18:37.528" v="745" actId="20577"/>
        <pc:sldMkLst>
          <pc:docMk/>
          <pc:sldMk cId="2708077593" sldId="2147378681"/>
        </pc:sldMkLst>
        <pc:spChg chg="mod">
          <ac:chgData name="内山 裕弥" userId="8d34b9d0-ec49-418d-b1de-019cf6b56da5" providerId="ADAL" clId="{EE417D81-9D62-44B5-9A36-43CC1B66E142}" dt="2024-07-19T04:18:20.430" v="689" actId="1076"/>
          <ac:spMkLst>
            <pc:docMk/>
            <pc:sldMk cId="2708077593" sldId="2147378681"/>
            <ac:spMk id="6" creationId="{A9577F56-3CCF-E475-2E51-B70DEBE9BC60}"/>
          </ac:spMkLst>
        </pc:spChg>
        <pc:spChg chg="mod">
          <ac:chgData name="内山 裕弥" userId="8d34b9d0-ec49-418d-b1de-019cf6b56da5" providerId="ADAL" clId="{EE417D81-9D62-44B5-9A36-43CC1B66E142}" dt="2024-07-19T04:16:26.352" v="379" actId="21"/>
          <ac:spMkLst>
            <pc:docMk/>
            <pc:sldMk cId="2708077593" sldId="2147378681"/>
            <ac:spMk id="8" creationId="{95ACE118-4131-DE79-F02F-66722864A02D}"/>
          </ac:spMkLst>
        </pc:spChg>
        <pc:spChg chg="mod">
          <ac:chgData name="内山 裕弥" userId="8d34b9d0-ec49-418d-b1de-019cf6b56da5" providerId="ADAL" clId="{EE417D81-9D62-44B5-9A36-43CC1B66E142}" dt="2024-07-19T04:15:37.846" v="359" actId="21"/>
          <ac:spMkLst>
            <pc:docMk/>
            <pc:sldMk cId="2708077593" sldId="2147378681"/>
            <ac:spMk id="9" creationId="{D22A0A06-D5A8-4A1A-B66F-2A8EDBD644F1}"/>
          </ac:spMkLst>
        </pc:spChg>
        <pc:spChg chg="mod">
          <ac:chgData name="内山 裕弥" userId="8d34b9d0-ec49-418d-b1de-019cf6b56da5" providerId="ADAL" clId="{EE417D81-9D62-44B5-9A36-43CC1B66E142}" dt="2024-07-19T04:15:49.859" v="364"/>
          <ac:spMkLst>
            <pc:docMk/>
            <pc:sldMk cId="2708077593" sldId="2147378681"/>
            <ac:spMk id="11" creationId="{5B8ABDA1-3D2A-BE6F-2D47-4B44E4CE9142}"/>
          </ac:spMkLst>
        </pc:spChg>
        <pc:spChg chg="mod">
          <ac:chgData name="内山 裕弥" userId="8d34b9d0-ec49-418d-b1de-019cf6b56da5" providerId="ADAL" clId="{EE417D81-9D62-44B5-9A36-43CC1B66E142}" dt="2024-07-19T04:16:09.935" v="378" actId="20577"/>
          <ac:spMkLst>
            <pc:docMk/>
            <pc:sldMk cId="2708077593" sldId="2147378681"/>
            <ac:spMk id="12" creationId="{0885EF34-1A86-AA39-1A1A-5F99ABF6B7EF}"/>
          </ac:spMkLst>
        </pc:spChg>
        <pc:spChg chg="add mod ord">
          <ac:chgData name="内山 裕弥" userId="8d34b9d0-ec49-418d-b1de-019cf6b56da5" providerId="ADAL" clId="{EE417D81-9D62-44B5-9A36-43CC1B66E142}" dt="2024-07-19T04:18:27.796" v="693" actId="1076"/>
          <ac:spMkLst>
            <pc:docMk/>
            <pc:sldMk cId="2708077593" sldId="2147378681"/>
            <ac:spMk id="14" creationId="{BA7FA382-9723-883E-C088-B51E896148CC}"/>
          </ac:spMkLst>
        </pc:spChg>
        <pc:spChg chg="add mod">
          <ac:chgData name="内山 裕弥" userId="8d34b9d0-ec49-418d-b1de-019cf6b56da5" providerId="ADAL" clId="{EE417D81-9D62-44B5-9A36-43CC1B66E142}" dt="2024-07-19T04:18:16.391" v="687" actId="20577"/>
          <ac:spMkLst>
            <pc:docMk/>
            <pc:sldMk cId="2708077593" sldId="2147378681"/>
            <ac:spMk id="15" creationId="{0C0D5913-6E2D-E5DB-60D1-B3AF669AED14}"/>
          </ac:spMkLst>
        </pc:spChg>
        <pc:spChg chg="add mod">
          <ac:chgData name="内山 裕弥" userId="8d34b9d0-ec49-418d-b1de-019cf6b56da5" providerId="ADAL" clId="{EE417D81-9D62-44B5-9A36-43CC1B66E142}" dt="2024-07-19T04:18:37.528" v="745" actId="20577"/>
          <ac:spMkLst>
            <pc:docMk/>
            <pc:sldMk cId="2708077593" sldId="2147378681"/>
            <ac:spMk id="16" creationId="{E2145D0B-66EB-0BA6-624D-9BC1846E3715}"/>
          </ac:spMkLst>
        </pc:spChg>
        <pc:grpChg chg="add mod">
          <ac:chgData name="内山 裕弥" userId="8d34b9d0-ec49-418d-b1de-019cf6b56da5" providerId="ADAL" clId="{EE417D81-9D62-44B5-9A36-43CC1B66E142}" dt="2024-07-19T04:16:05.602" v="366" actId="1076"/>
          <ac:grpSpMkLst>
            <pc:docMk/>
            <pc:sldMk cId="2708077593" sldId="2147378681"/>
            <ac:grpSpMk id="3" creationId="{EBC23DA4-F36B-555D-CA5C-39F94E08823F}"/>
          </ac:grpSpMkLst>
        </pc:grpChg>
        <pc:grpChg chg="mod">
          <ac:chgData name="内山 裕弥" userId="8d34b9d0-ec49-418d-b1de-019cf6b56da5" providerId="ADAL" clId="{EE417D81-9D62-44B5-9A36-43CC1B66E142}" dt="2024-07-19T04:16:05.602" v="366" actId="1076"/>
          <ac:grpSpMkLst>
            <pc:docMk/>
            <pc:sldMk cId="2708077593" sldId="2147378681"/>
            <ac:grpSpMk id="4" creationId="{182836E8-0A6C-6508-BE54-D9FA5966D104}"/>
          </ac:grpSpMkLst>
        </pc:grpChg>
        <pc:grpChg chg="mod">
          <ac:chgData name="内山 裕弥" userId="8d34b9d0-ec49-418d-b1de-019cf6b56da5" providerId="ADAL" clId="{EE417D81-9D62-44B5-9A36-43CC1B66E142}" dt="2024-07-19T04:16:05.602" v="366" actId="1076"/>
          <ac:grpSpMkLst>
            <pc:docMk/>
            <pc:sldMk cId="2708077593" sldId="2147378681"/>
            <ac:grpSpMk id="7" creationId="{2FB98B28-3911-4D54-DF63-480395E4E9E6}"/>
          </ac:grpSpMkLst>
        </pc:grpChg>
        <pc:cxnChg chg="mod">
          <ac:chgData name="内山 裕弥" userId="8d34b9d0-ec49-418d-b1de-019cf6b56da5" providerId="ADAL" clId="{EE417D81-9D62-44B5-9A36-43CC1B66E142}" dt="2024-07-19T04:16:05.602" v="366" actId="1076"/>
          <ac:cxnSpMkLst>
            <pc:docMk/>
            <pc:sldMk cId="2708077593" sldId="2147378681"/>
            <ac:cxnSpMk id="10" creationId="{EEF86A98-39B5-3E9C-8313-F6410191C7AD}"/>
          </ac:cxnSpMkLst>
        </pc:cxnChg>
        <pc:cxnChg chg="mod">
          <ac:chgData name="内山 裕弥" userId="8d34b9d0-ec49-418d-b1de-019cf6b56da5" providerId="ADAL" clId="{EE417D81-9D62-44B5-9A36-43CC1B66E142}" dt="2024-07-19T04:16:05.602" v="366" actId="1076"/>
          <ac:cxnSpMkLst>
            <pc:docMk/>
            <pc:sldMk cId="2708077593" sldId="2147378681"/>
            <ac:cxnSpMk id="13" creationId="{819B2E49-17B8-3727-8812-69FD5702E69C}"/>
          </ac:cxnSpMkLst>
        </pc:cxnChg>
      </pc:sldChg>
      <pc:sldChg chg="addSp modSp mod">
        <pc:chgData name="内山 裕弥" userId="8d34b9d0-ec49-418d-b1de-019cf6b56da5" providerId="ADAL" clId="{EE417D81-9D62-44B5-9A36-43CC1B66E142}" dt="2024-07-19T04:30:59.359" v="2661" actId="20577"/>
        <pc:sldMkLst>
          <pc:docMk/>
          <pc:sldMk cId="2629355078" sldId="2147378682"/>
        </pc:sldMkLst>
        <pc:spChg chg="mod">
          <ac:chgData name="内山 裕弥" userId="8d34b9d0-ec49-418d-b1de-019cf6b56da5" providerId="ADAL" clId="{EE417D81-9D62-44B5-9A36-43CC1B66E142}" dt="2024-07-19T04:29:27.775" v="2364"/>
          <ac:spMkLst>
            <pc:docMk/>
            <pc:sldMk cId="2629355078" sldId="2147378682"/>
            <ac:spMk id="6" creationId="{B97F009E-BC8C-AB2A-B2E1-25D733E4B178}"/>
          </ac:spMkLst>
        </pc:spChg>
        <pc:spChg chg="mod">
          <ac:chgData name="内山 裕弥" userId="8d34b9d0-ec49-418d-b1de-019cf6b56da5" providerId="ADAL" clId="{EE417D81-9D62-44B5-9A36-43CC1B66E142}" dt="2024-07-19T04:30:51.017" v="2641" actId="21"/>
          <ac:spMkLst>
            <pc:docMk/>
            <pc:sldMk cId="2629355078" sldId="2147378682"/>
            <ac:spMk id="7" creationId="{45EA7D70-5CA6-D453-2EFC-52642E09B3DC}"/>
          </ac:spMkLst>
        </pc:spChg>
        <pc:spChg chg="mod">
          <ac:chgData name="内山 裕弥" userId="8d34b9d0-ec49-418d-b1de-019cf6b56da5" providerId="ADAL" clId="{EE417D81-9D62-44B5-9A36-43CC1B66E142}" dt="2024-07-19T04:29:41.316" v="2366" actId="1076"/>
          <ac:spMkLst>
            <pc:docMk/>
            <pc:sldMk cId="2629355078" sldId="2147378682"/>
            <ac:spMk id="10" creationId="{C62006B4-6E2D-0E4F-98BD-E04EC6E6BBB0}"/>
          </ac:spMkLst>
        </pc:spChg>
        <pc:spChg chg="mod">
          <ac:chgData name="内山 裕弥" userId="8d34b9d0-ec49-418d-b1de-019cf6b56da5" providerId="ADAL" clId="{EE417D81-9D62-44B5-9A36-43CC1B66E142}" dt="2024-07-19T04:29:41.316" v="2366" actId="1076"/>
          <ac:spMkLst>
            <pc:docMk/>
            <pc:sldMk cId="2629355078" sldId="2147378682"/>
            <ac:spMk id="12" creationId="{F11E7E97-245A-D7F7-36C0-68CB910C05C1}"/>
          </ac:spMkLst>
        </pc:spChg>
        <pc:spChg chg="add mod">
          <ac:chgData name="内山 裕弥" userId="8d34b9d0-ec49-418d-b1de-019cf6b56da5" providerId="ADAL" clId="{EE417D81-9D62-44B5-9A36-43CC1B66E142}" dt="2024-07-19T04:29:44.192" v="2367" actId="1076"/>
          <ac:spMkLst>
            <pc:docMk/>
            <pc:sldMk cId="2629355078" sldId="2147378682"/>
            <ac:spMk id="14" creationId="{B9F3B646-3966-B82B-45E7-9F03CD875178}"/>
          </ac:spMkLst>
        </pc:spChg>
        <pc:spChg chg="add mod">
          <ac:chgData name="内山 裕弥" userId="8d34b9d0-ec49-418d-b1de-019cf6b56da5" providerId="ADAL" clId="{EE417D81-9D62-44B5-9A36-43CC1B66E142}" dt="2024-07-19T04:30:49.095" v="2640" actId="20577"/>
          <ac:spMkLst>
            <pc:docMk/>
            <pc:sldMk cId="2629355078" sldId="2147378682"/>
            <ac:spMk id="15" creationId="{FDA5823E-4462-D120-D102-5D7BCDCD50D7}"/>
          </ac:spMkLst>
        </pc:spChg>
        <pc:spChg chg="add mod">
          <ac:chgData name="内山 裕弥" userId="8d34b9d0-ec49-418d-b1de-019cf6b56da5" providerId="ADAL" clId="{EE417D81-9D62-44B5-9A36-43CC1B66E142}" dt="2024-07-19T04:30:59.359" v="2661" actId="20577"/>
          <ac:spMkLst>
            <pc:docMk/>
            <pc:sldMk cId="2629355078" sldId="2147378682"/>
            <ac:spMk id="16" creationId="{8F702987-7030-AB85-CCC8-911F98E01691}"/>
          </ac:spMkLst>
        </pc:spChg>
        <pc:grpChg chg="add mod">
          <ac:chgData name="内山 裕弥" userId="8d34b9d0-ec49-418d-b1de-019cf6b56da5" providerId="ADAL" clId="{EE417D81-9D62-44B5-9A36-43CC1B66E142}" dt="2024-07-19T04:29:41.316" v="2366" actId="1076"/>
          <ac:grpSpMkLst>
            <pc:docMk/>
            <pc:sldMk cId="2629355078" sldId="2147378682"/>
            <ac:grpSpMk id="3" creationId="{1BE8033C-A7B3-5961-A594-9CD86954FA2B}"/>
          </ac:grpSpMkLst>
        </pc:grpChg>
        <pc:grpChg chg="mod">
          <ac:chgData name="内山 裕弥" userId="8d34b9d0-ec49-418d-b1de-019cf6b56da5" providerId="ADAL" clId="{EE417D81-9D62-44B5-9A36-43CC1B66E142}" dt="2024-07-19T04:29:41.316" v="2366" actId="1076"/>
          <ac:grpSpMkLst>
            <pc:docMk/>
            <pc:sldMk cId="2629355078" sldId="2147378682"/>
            <ac:grpSpMk id="4" creationId="{7812F0ED-4843-A988-DB74-685513EF3A17}"/>
          </ac:grpSpMkLst>
        </pc:grpChg>
        <pc:grpChg chg="mod">
          <ac:chgData name="内山 裕弥" userId="8d34b9d0-ec49-418d-b1de-019cf6b56da5" providerId="ADAL" clId="{EE417D81-9D62-44B5-9A36-43CC1B66E142}" dt="2024-07-19T04:29:41.316" v="2366" actId="1076"/>
          <ac:grpSpMkLst>
            <pc:docMk/>
            <pc:sldMk cId="2629355078" sldId="2147378682"/>
            <ac:grpSpMk id="8" creationId="{C9F4060C-6E60-74B0-BA37-DFFB7605BE81}"/>
          </ac:grpSpMkLst>
        </pc:grpChg>
        <pc:cxnChg chg="mod">
          <ac:chgData name="内山 裕弥" userId="8d34b9d0-ec49-418d-b1de-019cf6b56da5" providerId="ADAL" clId="{EE417D81-9D62-44B5-9A36-43CC1B66E142}" dt="2024-07-19T04:29:41.316" v="2366" actId="1076"/>
          <ac:cxnSpMkLst>
            <pc:docMk/>
            <pc:sldMk cId="2629355078" sldId="2147378682"/>
            <ac:cxnSpMk id="11" creationId="{64B5E149-669F-4D0F-12C5-3052CD24513C}"/>
          </ac:cxnSpMkLst>
        </pc:cxnChg>
        <pc:cxnChg chg="mod">
          <ac:chgData name="内山 裕弥" userId="8d34b9d0-ec49-418d-b1de-019cf6b56da5" providerId="ADAL" clId="{EE417D81-9D62-44B5-9A36-43CC1B66E142}" dt="2024-07-19T04:29:41.316" v="2366" actId="1076"/>
          <ac:cxnSpMkLst>
            <pc:docMk/>
            <pc:sldMk cId="2629355078" sldId="2147378682"/>
            <ac:cxnSpMk id="13" creationId="{F9D827AE-7DB6-8B95-3FEA-062DF43E1AE4}"/>
          </ac:cxnSpMkLst>
        </pc:cxnChg>
      </pc:sldChg>
      <pc:sldChg chg="addSp modSp mod">
        <pc:chgData name="内山 裕弥" userId="8d34b9d0-ec49-418d-b1de-019cf6b56da5" providerId="ADAL" clId="{EE417D81-9D62-44B5-9A36-43CC1B66E142}" dt="2024-07-19T04:38:45.073" v="3769" actId="1076"/>
        <pc:sldMkLst>
          <pc:docMk/>
          <pc:sldMk cId="228645798" sldId="2147378683"/>
        </pc:sldMkLst>
        <pc:spChg chg="mod">
          <ac:chgData name="内山 裕弥" userId="8d34b9d0-ec49-418d-b1de-019cf6b56da5" providerId="ADAL" clId="{EE417D81-9D62-44B5-9A36-43CC1B66E142}" dt="2024-07-19T04:32:14.124" v="2663" actId="1076"/>
          <ac:spMkLst>
            <pc:docMk/>
            <pc:sldMk cId="228645798" sldId="2147378683"/>
            <ac:spMk id="6" creationId="{9E4631E7-964D-E009-B2BB-C8E7CB208D67}"/>
          </ac:spMkLst>
        </pc:spChg>
        <pc:spChg chg="add mod">
          <ac:chgData name="内山 裕弥" userId="8d34b9d0-ec49-418d-b1de-019cf6b56da5" providerId="ADAL" clId="{EE417D81-9D62-44B5-9A36-43CC1B66E142}" dt="2024-07-19T04:38:45.073" v="3769" actId="1076"/>
          <ac:spMkLst>
            <pc:docMk/>
            <pc:sldMk cId="228645798" sldId="2147378683"/>
            <ac:spMk id="7" creationId="{44C5D2AE-5A67-8B16-4D64-05BEA1BC14F5}"/>
          </ac:spMkLst>
        </pc:spChg>
        <pc:spChg chg="mod">
          <ac:chgData name="内山 裕弥" userId="8d34b9d0-ec49-418d-b1de-019cf6b56da5" providerId="ADAL" clId="{EE417D81-9D62-44B5-9A36-43CC1B66E142}" dt="2024-07-19T04:32:19.766" v="2666"/>
          <ac:spMkLst>
            <pc:docMk/>
            <pc:sldMk cId="228645798" sldId="2147378683"/>
            <ac:spMk id="8" creationId="{9D610DBF-17F7-608B-8680-1CFA54E54E02}"/>
          </ac:spMkLst>
        </pc:spChg>
        <pc:graphicFrameChg chg="add mod modGraphic">
          <ac:chgData name="内山 裕弥" userId="8d34b9d0-ec49-418d-b1de-019cf6b56da5" providerId="ADAL" clId="{EE417D81-9D62-44B5-9A36-43CC1B66E142}" dt="2024-07-19T04:34:31.234" v="2703" actId="20577"/>
          <ac:graphicFrameMkLst>
            <pc:docMk/>
            <pc:sldMk cId="228645798" sldId="2147378683"/>
            <ac:graphicFrameMk id="2" creationId="{11947C01-3F25-5707-DF65-95146B28736C}"/>
          </ac:graphicFrameMkLst>
        </pc:graphicFrameChg>
      </pc:sldChg>
      <pc:sldChg chg="addSp delSp modSp mod">
        <pc:chgData name="内山 裕弥" userId="8d34b9d0-ec49-418d-b1de-019cf6b56da5" providerId="ADAL" clId="{EE417D81-9D62-44B5-9A36-43CC1B66E142}" dt="2024-07-19T04:52:21.968" v="4789" actId="478"/>
        <pc:sldMkLst>
          <pc:docMk/>
          <pc:sldMk cId="239223960" sldId="2147378686"/>
        </pc:sldMkLst>
        <pc:spChg chg="add mod">
          <ac:chgData name="内山 裕弥" userId="8d34b9d0-ec49-418d-b1de-019cf6b56da5" providerId="ADAL" clId="{EE417D81-9D62-44B5-9A36-43CC1B66E142}" dt="2024-07-19T04:45:16.890" v="4215" actId="20577"/>
          <ac:spMkLst>
            <pc:docMk/>
            <pc:sldMk cId="239223960" sldId="2147378686"/>
            <ac:spMk id="4" creationId="{2D9DF4BF-A6B4-F174-8EB6-98CC10E01A36}"/>
          </ac:spMkLst>
        </pc:spChg>
        <pc:spChg chg="del">
          <ac:chgData name="内山 裕弥" userId="8d34b9d0-ec49-418d-b1de-019cf6b56da5" providerId="ADAL" clId="{EE417D81-9D62-44B5-9A36-43CC1B66E142}" dt="2024-07-19T04:52:21.968" v="4789" actId="478"/>
          <ac:spMkLst>
            <pc:docMk/>
            <pc:sldMk cId="239223960" sldId="2147378686"/>
            <ac:spMk id="7" creationId="{A0503B66-1299-571B-996C-A6BEA9AA3FFB}"/>
          </ac:spMkLst>
        </pc:spChg>
        <pc:spChg chg="mod">
          <ac:chgData name="内山 裕弥" userId="8d34b9d0-ec49-418d-b1de-019cf6b56da5" providerId="ADAL" clId="{EE417D81-9D62-44B5-9A36-43CC1B66E142}" dt="2024-07-19T04:45:35.946" v="4227" actId="20577"/>
          <ac:spMkLst>
            <pc:docMk/>
            <pc:sldMk cId="239223960" sldId="2147378686"/>
            <ac:spMk id="9" creationId="{D22A0A06-D5A8-4A1A-B66F-2A8EDBD644F1}"/>
          </ac:spMkLst>
        </pc:spChg>
      </pc:sldChg>
      <pc:sldChg chg="addSp delSp modSp mod">
        <pc:chgData name="内山 裕弥" userId="8d34b9d0-ec49-418d-b1de-019cf6b56da5" providerId="ADAL" clId="{EE417D81-9D62-44B5-9A36-43CC1B66E142}" dt="2024-07-19T04:52:10.730" v="4788" actId="20577"/>
        <pc:sldMkLst>
          <pc:docMk/>
          <pc:sldMk cId="1260276570" sldId="2147378687"/>
        </pc:sldMkLst>
        <pc:spChg chg="add mod">
          <ac:chgData name="内山 裕弥" userId="8d34b9d0-ec49-418d-b1de-019cf6b56da5" providerId="ADAL" clId="{EE417D81-9D62-44B5-9A36-43CC1B66E142}" dt="2024-07-19T04:52:10.730" v="4788" actId="20577"/>
          <ac:spMkLst>
            <pc:docMk/>
            <pc:sldMk cId="1260276570" sldId="2147378687"/>
            <ac:spMk id="4" creationId="{D6454845-5FE2-027E-0CD4-E44F5E629B84}"/>
          </ac:spMkLst>
        </pc:spChg>
        <pc:spChg chg="del mod">
          <ac:chgData name="内山 裕弥" userId="8d34b9d0-ec49-418d-b1de-019cf6b56da5" providerId="ADAL" clId="{EE417D81-9D62-44B5-9A36-43CC1B66E142}" dt="2024-07-19T04:52:07.340" v="4776"/>
          <ac:spMkLst>
            <pc:docMk/>
            <pc:sldMk cId="1260276570" sldId="2147378687"/>
            <ac:spMk id="7" creationId="{7254BB2F-820A-1FB9-0276-6C0E17A84BB6}"/>
          </ac:spMkLst>
        </pc:spChg>
      </pc:sldChg>
      <pc:sldChg chg="addSp delSp modSp mod">
        <pc:chgData name="内山 裕弥" userId="8d34b9d0-ec49-418d-b1de-019cf6b56da5" providerId="ADAL" clId="{EE417D81-9D62-44B5-9A36-43CC1B66E142}" dt="2024-07-19T04:52:30.092" v="4793"/>
        <pc:sldMkLst>
          <pc:docMk/>
          <pc:sldMk cId="2452595465" sldId="2147378688"/>
        </pc:sldMkLst>
        <pc:spChg chg="add mod">
          <ac:chgData name="内山 裕弥" userId="8d34b9d0-ec49-418d-b1de-019cf6b56da5" providerId="ADAL" clId="{EE417D81-9D62-44B5-9A36-43CC1B66E142}" dt="2024-07-19T04:48:38.407" v="4504" actId="571"/>
          <ac:spMkLst>
            <pc:docMk/>
            <pc:sldMk cId="2452595465" sldId="2147378688"/>
            <ac:spMk id="6" creationId="{2AB6F1E6-91CA-D8FD-88C2-44C55B9F5357}"/>
          </ac:spMkLst>
        </pc:spChg>
        <pc:spChg chg="add mod">
          <ac:chgData name="内山 裕弥" userId="8d34b9d0-ec49-418d-b1de-019cf6b56da5" providerId="ADAL" clId="{EE417D81-9D62-44B5-9A36-43CC1B66E142}" dt="2024-07-19T04:50:19.064" v="4724" actId="20577"/>
          <ac:spMkLst>
            <pc:docMk/>
            <pc:sldMk cId="2452595465" sldId="2147378688"/>
            <ac:spMk id="7" creationId="{24582205-39DE-FABD-CB90-9C30FEE43071}"/>
          </ac:spMkLst>
        </pc:spChg>
        <pc:spChg chg="mod">
          <ac:chgData name="内山 裕弥" userId="8d34b9d0-ec49-418d-b1de-019cf6b56da5" providerId="ADAL" clId="{EE417D81-9D62-44B5-9A36-43CC1B66E142}" dt="2024-07-19T04:50:46.576" v="4741" actId="20577"/>
          <ac:spMkLst>
            <pc:docMk/>
            <pc:sldMk cId="2452595465" sldId="2147378688"/>
            <ac:spMk id="9" creationId="{D22A0A06-D5A8-4A1A-B66F-2A8EDBD644F1}"/>
          </ac:spMkLst>
        </pc:spChg>
        <pc:spChg chg="mod">
          <ac:chgData name="内山 裕弥" userId="8d34b9d0-ec49-418d-b1de-019cf6b56da5" providerId="ADAL" clId="{EE417D81-9D62-44B5-9A36-43CC1B66E142}" dt="2024-07-19T04:52:30.092" v="4793"/>
          <ac:spMkLst>
            <pc:docMk/>
            <pc:sldMk cId="2452595465" sldId="2147378688"/>
            <ac:spMk id="10" creationId="{09B8CBA2-03F1-FCA3-5EF4-E163C51AD89A}"/>
          </ac:spMkLst>
        </pc:spChg>
        <pc:spChg chg="del mod">
          <ac:chgData name="内山 裕弥" userId="8d34b9d0-ec49-418d-b1de-019cf6b56da5" providerId="ADAL" clId="{EE417D81-9D62-44B5-9A36-43CC1B66E142}" dt="2024-07-19T04:49:32.545" v="4545" actId="21"/>
          <ac:spMkLst>
            <pc:docMk/>
            <pc:sldMk cId="2452595465" sldId="2147378688"/>
            <ac:spMk id="11" creationId="{DF311CC2-C502-8448-4552-A080BA91D47C}"/>
          </ac:spMkLst>
        </pc:spChg>
        <pc:graphicFrameChg chg="add mod ord modGraphic">
          <ac:chgData name="内山 裕弥" userId="8d34b9d0-ec49-418d-b1de-019cf6b56da5" providerId="ADAL" clId="{EE417D81-9D62-44B5-9A36-43CC1B66E142}" dt="2024-07-19T04:49:19.289" v="4538" actId="207"/>
          <ac:graphicFrameMkLst>
            <pc:docMk/>
            <pc:sldMk cId="2452595465" sldId="2147378688"/>
            <ac:graphicFrameMk id="3" creationId="{5CD75058-DF54-3019-BEEC-A9CC2112B9F4}"/>
          </ac:graphicFrameMkLst>
        </pc:graphicFrameChg>
        <pc:picChg chg="add mod ord">
          <ac:chgData name="内山 裕弥" userId="8d34b9d0-ec49-418d-b1de-019cf6b56da5" providerId="ADAL" clId="{EE417D81-9D62-44B5-9A36-43CC1B66E142}" dt="2024-07-19T04:48:53.351" v="4509" actId="1076"/>
          <ac:picMkLst>
            <pc:docMk/>
            <pc:sldMk cId="2452595465" sldId="2147378688"/>
            <ac:picMk id="4" creationId="{CB67C656-701C-590D-31B0-33A764E6E23A}"/>
          </ac:picMkLst>
        </pc:picChg>
      </pc:sldChg>
      <pc:sldChg chg="addSp delSp modSp mod">
        <pc:chgData name="内山 裕弥" userId="8d34b9d0-ec49-418d-b1de-019cf6b56da5" providerId="ADAL" clId="{EE417D81-9D62-44B5-9A36-43CC1B66E142}" dt="2024-07-19T04:55:16.873" v="5290" actId="14100"/>
        <pc:sldMkLst>
          <pc:docMk/>
          <pc:sldMk cId="64176771" sldId="2147378692"/>
        </pc:sldMkLst>
        <pc:spChg chg="add mod">
          <ac:chgData name="内山 裕弥" userId="8d34b9d0-ec49-418d-b1de-019cf6b56da5" providerId="ADAL" clId="{EE417D81-9D62-44B5-9A36-43CC1B66E142}" dt="2024-07-19T04:55:16.873" v="5290" actId="14100"/>
          <ac:spMkLst>
            <pc:docMk/>
            <pc:sldMk cId="64176771" sldId="2147378692"/>
            <ac:spMk id="6" creationId="{8F5B53A2-0EF1-F8B6-B41F-2E779B30F578}"/>
          </ac:spMkLst>
        </pc:spChg>
        <pc:spChg chg="del mod">
          <ac:chgData name="内山 裕弥" userId="8d34b9d0-ec49-418d-b1de-019cf6b56da5" providerId="ADAL" clId="{EE417D81-9D62-44B5-9A36-43CC1B66E142}" dt="2024-07-19T04:52:44.439" v="4800" actId="478"/>
          <ac:spMkLst>
            <pc:docMk/>
            <pc:sldMk cId="64176771" sldId="2147378692"/>
            <ac:spMk id="8" creationId="{430BEB5D-C083-5408-ED88-6B0F9B1E1A27}"/>
          </ac:spMkLst>
        </pc:spChg>
        <pc:spChg chg="mod">
          <ac:chgData name="内山 裕弥" userId="8d34b9d0-ec49-418d-b1de-019cf6b56da5" providerId="ADAL" clId="{EE417D81-9D62-44B5-9A36-43CC1B66E142}" dt="2024-07-19T04:52:33.540" v="4796"/>
          <ac:spMkLst>
            <pc:docMk/>
            <pc:sldMk cId="64176771" sldId="2147378692"/>
            <ac:spMk id="9" creationId="{43C330CB-8A4D-F4A2-AFFC-48CA4FB9C719}"/>
          </ac:spMkLst>
        </pc:spChg>
        <pc:graphicFrameChg chg="mod">
          <ac:chgData name="内山 裕弥" userId="8d34b9d0-ec49-418d-b1de-019cf6b56da5" providerId="ADAL" clId="{EE417D81-9D62-44B5-9A36-43CC1B66E142}" dt="2024-07-19T04:52:58.261" v="4804" actId="21"/>
          <ac:graphicFrameMkLst>
            <pc:docMk/>
            <pc:sldMk cId="64176771" sldId="2147378692"/>
            <ac:graphicFrameMk id="2" creationId="{12ACD507-CDCD-7967-B093-33A8EA8B50AD}"/>
          </ac:graphicFrameMkLst>
        </pc:graphicFrameChg>
      </pc:sldChg>
      <pc:sldChg chg="addSp delSp modSp mod">
        <pc:chgData name="内山 裕弥" userId="8d34b9d0-ec49-418d-b1de-019cf6b56da5" providerId="ADAL" clId="{EE417D81-9D62-44B5-9A36-43CC1B66E142}" dt="2024-07-19T04:57:15.553" v="5488"/>
        <pc:sldMkLst>
          <pc:docMk/>
          <pc:sldMk cId="2807815468" sldId="2147378693"/>
        </pc:sldMkLst>
        <pc:spChg chg="del mod">
          <ac:chgData name="内山 裕弥" userId="8d34b9d0-ec49-418d-b1de-019cf6b56da5" providerId="ADAL" clId="{EE417D81-9D62-44B5-9A36-43CC1B66E142}" dt="2024-07-19T04:55:48.187" v="5298" actId="478"/>
          <ac:spMkLst>
            <pc:docMk/>
            <pc:sldMk cId="2807815468" sldId="2147378693"/>
            <ac:spMk id="3" creationId="{E8307DE4-B685-8681-C06A-AB760B5D189C}"/>
          </ac:spMkLst>
        </pc:spChg>
        <pc:spChg chg="add mod">
          <ac:chgData name="内山 裕弥" userId="8d34b9d0-ec49-418d-b1de-019cf6b56da5" providerId="ADAL" clId="{EE417D81-9D62-44B5-9A36-43CC1B66E142}" dt="2024-07-19T04:56:50.855" v="5486" actId="1076"/>
          <ac:spMkLst>
            <pc:docMk/>
            <pc:sldMk cId="2807815468" sldId="2147378693"/>
            <ac:spMk id="6" creationId="{AB16B992-8FEA-2524-9080-25C00B9EB250}"/>
          </ac:spMkLst>
        </pc:spChg>
        <pc:spChg chg="mod">
          <ac:chgData name="内山 裕弥" userId="8d34b9d0-ec49-418d-b1de-019cf6b56da5" providerId="ADAL" clId="{EE417D81-9D62-44B5-9A36-43CC1B66E142}" dt="2024-07-19T04:55:39.513" v="5293"/>
          <ac:spMkLst>
            <pc:docMk/>
            <pc:sldMk cId="2807815468" sldId="2147378693"/>
            <ac:spMk id="7" creationId="{AB44C853-6597-563E-FBB5-333EA802200B}"/>
          </ac:spMkLst>
        </pc:spChg>
        <pc:spChg chg="del mod">
          <ac:chgData name="内山 裕弥" userId="8d34b9d0-ec49-418d-b1de-019cf6b56da5" providerId="ADAL" clId="{EE417D81-9D62-44B5-9A36-43CC1B66E142}" dt="2024-07-19T04:57:15.553" v="5488"/>
          <ac:spMkLst>
            <pc:docMk/>
            <pc:sldMk cId="2807815468" sldId="2147378693"/>
            <ac:spMk id="10" creationId="{0A97D34E-723F-105C-1855-E9ECCA44243E}"/>
          </ac:spMkLst>
        </pc:spChg>
      </pc:sldChg>
      <pc:sldChg chg="addSp delSp modSp mod">
        <pc:chgData name="内山 裕弥" userId="8d34b9d0-ec49-418d-b1de-019cf6b56da5" providerId="ADAL" clId="{EE417D81-9D62-44B5-9A36-43CC1B66E142}" dt="2024-07-19T04:57:37.529" v="5527" actId="20577"/>
        <pc:sldMkLst>
          <pc:docMk/>
          <pc:sldMk cId="1631142101" sldId="2147378694"/>
        </pc:sldMkLst>
        <pc:spChg chg="del mod">
          <ac:chgData name="内山 裕弥" userId="8d34b9d0-ec49-418d-b1de-019cf6b56da5" providerId="ADAL" clId="{EE417D81-9D62-44B5-9A36-43CC1B66E142}" dt="2024-07-19T04:57:24.846" v="5492" actId="478"/>
          <ac:spMkLst>
            <pc:docMk/>
            <pc:sldMk cId="1631142101" sldId="2147378694"/>
            <ac:spMk id="2" creationId="{89151AD2-4460-53D9-CF93-F29025E96346}"/>
          </ac:spMkLst>
        </pc:spChg>
        <pc:spChg chg="add mod">
          <ac:chgData name="内山 裕弥" userId="8d34b9d0-ec49-418d-b1de-019cf6b56da5" providerId="ADAL" clId="{EE417D81-9D62-44B5-9A36-43CC1B66E142}" dt="2024-07-19T04:57:37.529" v="5527" actId="20577"/>
          <ac:spMkLst>
            <pc:docMk/>
            <pc:sldMk cId="1631142101" sldId="2147378694"/>
            <ac:spMk id="6" creationId="{7CABF31E-164B-05A5-D57B-0E33F4E31404}"/>
          </ac:spMkLst>
        </pc:spChg>
      </pc:sldChg>
      <pc:sldChg chg="addSp delSp modSp mod">
        <pc:chgData name="内山 裕弥" userId="8d34b9d0-ec49-418d-b1de-019cf6b56da5" providerId="ADAL" clId="{EE417D81-9D62-44B5-9A36-43CC1B66E142}" dt="2024-07-19T05:03:21.617" v="6084" actId="1076"/>
        <pc:sldMkLst>
          <pc:docMk/>
          <pc:sldMk cId="3347821416" sldId="2147378698"/>
        </pc:sldMkLst>
        <pc:spChg chg="del mod">
          <ac:chgData name="内山 裕弥" userId="8d34b9d0-ec49-418d-b1de-019cf6b56da5" providerId="ADAL" clId="{EE417D81-9D62-44B5-9A36-43CC1B66E142}" dt="2024-07-19T05:02:56.206" v="6082"/>
          <ac:spMkLst>
            <pc:docMk/>
            <pc:sldMk cId="3347821416" sldId="2147378698"/>
            <ac:spMk id="3" creationId="{E4C1F0CA-D59B-2839-1212-A75A55E2548A}"/>
          </ac:spMkLst>
        </pc:spChg>
        <pc:spChg chg="add mod">
          <ac:chgData name="内山 裕弥" userId="8d34b9d0-ec49-418d-b1de-019cf6b56da5" providerId="ADAL" clId="{EE417D81-9D62-44B5-9A36-43CC1B66E142}" dt="2024-07-19T05:02:55.229" v="6080" actId="14100"/>
          <ac:spMkLst>
            <pc:docMk/>
            <pc:sldMk cId="3347821416" sldId="2147378698"/>
            <ac:spMk id="4" creationId="{9986CF63-9F4F-EEC8-16B1-03EAAE162369}"/>
          </ac:spMkLst>
        </pc:spChg>
        <pc:spChg chg="add del mod">
          <ac:chgData name="内山 裕弥" userId="8d34b9d0-ec49-418d-b1de-019cf6b56da5" providerId="ADAL" clId="{EE417D81-9D62-44B5-9A36-43CC1B66E142}" dt="2024-07-19T05:00:26.679" v="5535"/>
          <ac:spMkLst>
            <pc:docMk/>
            <pc:sldMk cId="3347821416" sldId="2147378698"/>
            <ac:spMk id="8" creationId="{10850209-BC14-80A2-9241-693DF7731108}"/>
          </ac:spMkLst>
        </pc:spChg>
        <pc:spChg chg="add del mod">
          <ac:chgData name="内山 裕弥" userId="8d34b9d0-ec49-418d-b1de-019cf6b56da5" providerId="ADAL" clId="{EE417D81-9D62-44B5-9A36-43CC1B66E142}" dt="2024-07-19T05:00:26.679" v="5535"/>
          <ac:spMkLst>
            <pc:docMk/>
            <pc:sldMk cId="3347821416" sldId="2147378698"/>
            <ac:spMk id="10" creationId="{D11ED487-10C7-E53A-50E8-CFB4020373F2}"/>
          </ac:spMkLst>
        </pc:spChg>
        <pc:spChg chg="add del mod">
          <ac:chgData name="内山 裕弥" userId="8d34b9d0-ec49-418d-b1de-019cf6b56da5" providerId="ADAL" clId="{EE417D81-9D62-44B5-9A36-43CC1B66E142}" dt="2024-07-19T05:00:26.679" v="5535"/>
          <ac:spMkLst>
            <pc:docMk/>
            <pc:sldMk cId="3347821416" sldId="2147378698"/>
            <ac:spMk id="11" creationId="{7E57F75D-03E0-04CB-EE12-D8D89AF01E36}"/>
          </ac:spMkLst>
        </pc:spChg>
        <pc:spChg chg="add del mod">
          <ac:chgData name="内山 裕弥" userId="8d34b9d0-ec49-418d-b1de-019cf6b56da5" providerId="ADAL" clId="{EE417D81-9D62-44B5-9A36-43CC1B66E142}" dt="2024-07-19T05:00:26.679" v="5535"/>
          <ac:spMkLst>
            <pc:docMk/>
            <pc:sldMk cId="3347821416" sldId="2147378698"/>
            <ac:spMk id="12" creationId="{53CE6DB2-FD6C-4895-1172-6B277E743F46}"/>
          </ac:spMkLst>
        </pc:spChg>
        <pc:spChg chg="add del mod">
          <ac:chgData name="内山 裕弥" userId="8d34b9d0-ec49-418d-b1de-019cf6b56da5" providerId="ADAL" clId="{EE417D81-9D62-44B5-9A36-43CC1B66E142}" dt="2024-07-19T05:00:26.679" v="5535"/>
          <ac:spMkLst>
            <pc:docMk/>
            <pc:sldMk cId="3347821416" sldId="2147378698"/>
            <ac:spMk id="13" creationId="{DF642EF6-485D-3E6D-63A0-ED65955BB237}"/>
          </ac:spMkLst>
        </pc:spChg>
        <pc:spChg chg="add del mod">
          <ac:chgData name="内山 裕弥" userId="8d34b9d0-ec49-418d-b1de-019cf6b56da5" providerId="ADAL" clId="{EE417D81-9D62-44B5-9A36-43CC1B66E142}" dt="2024-07-19T05:00:26.679" v="5535"/>
          <ac:spMkLst>
            <pc:docMk/>
            <pc:sldMk cId="3347821416" sldId="2147378698"/>
            <ac:spMk id="14" creationId="{EDF095BF-916A-884A-1729-9BCC9B47FE66}"/>
          </ac:spMkLst>
        </pc:spChg>
        <pc:spChg chg="add del mod">
          <ac:chgData name="内山 裕弥" userId="8d34b9d0-ec49-418d-b1de-019cf6b56da5" providerId="ADAL" clId="{EE417D81-9D62-44B5-9A36-43CC1B66E142}" dt="2024-07-19T05:00:26.679" v="5535"/>
          <ac:spMkLst>
            <pc:docMk/>
            <pc:sldMk cId="3347821416" sldId="2147378698"/>
            <ac:spMk id="15" creationId="{FD26CC9E-922F-ABFD-4077-1B58694529FA}"/>
          </ac:spMkLst>
        </pc:spChg>
        <pc:spChg chg="add del mod">
          <ac:chgData name="内山 裕弥" userId="8d34b9d0-ec49-418d-b1de-019cf6b56da5" providerId="ADAL" clId="{EE417D81-9D62-44B5-9A36-43CC1B66E142}" dt="2024-07-19T05:00:26.679" v="5535"/>
          <ac:spMkLst>
            <pc:docMk/>
            <pc:sldMk cId="3347821416" sldId="2147378698"/>
            <ac:spMk id="16" creationId="{605D5B5D-4CCE-314B-389E-0912DAAB0EE3}"/>
          </ac:spMkLst>
        </pc:spChg>
        <pc:spChg chg="add del mod">
          <ac:chgData name="内山 裕弥" userId="8d34b9d0-ec49-418d-b1de-019cf6b56da5" providerId="ADAL" clId="{EE417D81-9D62-44B5-9A36-43CC1B66E142}" dt="2024-07-19T05:00:26.679" v="5535"/>
          <ac:spMkLst>
            <pc:docMk/>
            <pc:sldMk cId="3347821416" sldId="2147378698"/>
            <ac:spMk id="17" creationId="{033A359F-D397-CCDF-C294-AC0DC004E79E}"/>
          </ac:spMkLst>
        </pc:spChg>
        <pc:spChg chg="add del mod">
          <ac:chgData name="内山 裕弥" userId="8d34b9d0-ec49-418d-b1de-019cf6b56da5" providerId="ADAL" clId="{EE417D81-9D62-44B5-9A36-43CC1B66E142}" dt="2024-07-19T05:00:26.679" v="5535"/>
          <ac:spMkLst>
            <pc:docMk/>
            <pc:sldMk cId="3347821416" sldId="2147378698"/>
            <ac:spMk id="18" creationId="{179511B3-E629-9D8E-EB81-11377F6F7AC2}"/>
          </ac:spMkLst>
        </pc:spChg>
        <pc:spChg chg="add del mod">
          <ac:chgData name="内山 裕弥" userId="8d34b9d0-ec49-418d-b1de-019cf6b56da5" providerId="ADAL" clId="{EE417D81-9D62-44B5-9A36-43CC1B66E142}" dt="2024-07-19T05:00:26.679" v="5535"/>
          <ac:spMkLst>
            <pc:docMk/>
            <pc:sldMk cId="3347821416" sldId="2147378698"/>
            <ac:spMk id="20" creationId="{4F22A7EE-C394-063E-9275-46FA505BB679}"/>
          </ac:spMkLst>
        </pc:spChg>
        <pc:spChg chg="add del mod">
          <ac:chgData name="内山 裕弥" userId="8d34b9d0-ec49-418d-b1de-019cf6b56da5" providerId="ADAL" clId="{EE417D81-9D62-44B5-9A36-43CC1B66E142}" dt="2024-07-19T05:00:26.679" v="5535"/>
          <ac:spMkLst>
            <pc:docMk/>
            <pc:sldMk cId="3347821416" sldId="2147378698"/>
            <ac:spMk id="21" creationId="{DCB0DA9C-6F8E-5F96-16BA-C7378A439A28}"/>
          </ac:spMkLst>
        </pc:spChg>
        <pc:spChg chg="add del mod">
          <ac:chgData name="内山 裕弥" userId="8d34b9d0-ec49-418d-b1de-019cf6b56da5" providerId="ADAL" clId="{EE417D81-9D62-44B5-9A36-43CC1B66E142}" dt="2024-07-19T05:00:26.679" v="5535"/>
          <ac:spMkLst>
            <pc:docMk/>
            <pc:sldMk cId="3347821416" sldId="2147378698"/>
            <ac:spMk id="22" creationId="{0A09B8A7-EE59-D587-7C3B-9CD3A7CACFC9}"/>
          </ac:spMkLst>
        </pc:spChg>
        <pc:spChg chg="add del mod">
          <ac:chgData name="内山 裕弥" userId="8d34b9d0-ec49-418d-b1de-019cf6b56da5" providerId="ADAL" clId="{EE417D81-9D62-44B5-9A36-43CC1B66E142}" dt="2024-07-19T05:00:26.679" v="5535"/>
          <ac:spMkLst>
            <pc:docMk/>
            <pc:sldMk cId="3347821416" sldId="2147378698"/>
            <ac:spMk id="23" creationId="{7B1B94A6-037F-541B-C1CA-11FC394C1BAA}"/>
          </ac:spMkLst>
        </pc:spChg>
        <pc:spChg chg="add del mod">
          <ac:chgData name="内山 裕弥" userId="8d34b9d0-ec49-418d-b1de-019cf6b56da5" providerId="ADAL" clId="{EE417D81-9D62-44B5-9A36-43CC1B66E142}" dt="2024-07-19T05:00:26.679" v="5535"/>
          <ac:spMkLst>
            <pc:docMk/>
            <pc:sldMk cId="3347821416" sldId="2147378698"/>
            <ac:spMk id="24" creationId="{84AD3BF2-C8BC-6F5E-ECD4-D14FC70A4E56}"/>
          </ac:spMkLst>
        </pc:spChg>
        <pc:spChg chg="add del mod">
          <ac:chgData name="内山 裕弥" userId="8d34b9d0-ec49-418d-b1de-019cf6b56da5" providerId="ADAL" clId="{EE417D81-9D62-44B5-9A36-43CC1B66E142}" dt="2024-07-19T05:00:26.679" v="5535"/>
          <ac:spMkLst>
            <pc:docMk/>
            <pc:sldMk cId="3347821416" sldId="2147378698"/>
            <ac:spMk id="25" creationId="{71795CF2-B2F4-882D-9BC1-8C8ACF0C1176}"/>
          </ac:spMkLst>
        </pc:spChg>
        <pc:spChg chg="add del mod">
          <ac:chgData name="内山 裕弥" userId="8d34b9d0-ec49-418d-b1de-019cf6b56da5" providerId="ADAL" clId="{EE417D81-9D62-44B5-9A36-43CC1B66E142}" dt="2024-07-19T05:00:26.679" v="5535"/>
          <ac:spMkLst>
            <pc:docMk/>
            <pc:sldMk cId="3347821416" sldId="2147378698"/>
            <ac:spMk id="26" creationId="{6FC8CC88-D648-1762-1436-1E68A7D86EFB}"/>
          </ac:spMkLst>
        </pc:spChg>
        <pc:spChg chg="add del mod">
          <ac:chgData name="内山 裕弥" userId="8d34b9d0-ec49-418d-b1de-019cf6b56da5" providerId="ADAL" clId="{EE417D81-9D62-44B5-9A36-43CC1B66E142}" dt="2024-07-19T05:00:26.679" v="5535"/>
          <ac:spMkLst>
            <pc:docMk/>
            <pc:sldMk cId="3347821416" sldId="2147378698"/>
            <ac:spMk id="28" creationId="{32CD005A-3CEB-5916-4C52-EF8A8192FB4F}"/>
          </ac:spMkLst>
        </pc:spChg>
        <pc:spChg chg="add del mod">
          <ac:chgData name="内山 裕弥" userId="8d34b9d0-ec49-418d-b1de-019cf6b56da5" providerId="ADAL" clId="{EE417D81-9D62-44B5-9A36-43CC1B66E142}" dt="2024-07-19T05:00:26.679" v="5535"/>
          <ac:spMkLst>
            <pc:docMk/>
            <pc:sldMk cId="3347821416" sldId="2147378698"/>
            <ac:spMk id="29" creationId="{E9487253-4F33-A3CD-AB96-2FB2B74D3EF8}"/>
          </ac:spMkLst>
        </pc:spChg>
        <pc:spChg chg="add del mod">
          <ac:chgData name="内山 裕弥" userId="8d34b9d0-ec49-418d-b1de-019cf6b56da5" providerId="ADAL" clId="{EE417D81-9D62-44B5-9A36-43CC1B66E142}" dt="2024-07-19T05:00:26.679" v="5535"/>
          <ac:spMkLst>
            <pc:docMk/>
            <pc:sldMk cId="3347821416" sldId="2147378698"/>
            <ac:spMk id="30" creationId="{5B5C74CE-776E-6797-07A1-AE8B13A3C91F}"/>
          </ac:spMkLst>
        </pc:spChg>
        <pc:picChg chg="add del mod">
          <ac:chgData name="内山 裕弥" userId="8d34b9d0-ec49-418d-b1de-019cf6b56da5" providerId="ADAL" clId="{EE417D81-9D62-44B5-9A36-43CC1B66E142}" dt="2024-07-19T05:00:26.679" v="5535"/>
          <ac:picMkLst>
            <pc:docMk/>
            <pc:sldMk cId="3347821416" sldId="2147378698"/>
            <ac:picMk id="7" creationId="{BDBBA593-FC21-2E8C-0F76-016C3ADE0546}"/>
          </ac:picMkLst>
        </pc:picChg>
        <pc:picChg chg="add mod ord">
          <ac:chgData name="内山 裕弥" userId="8d34b9d0-ec49-418d-b1de-019cf6b56da5" providerId="ADAL" clId="{EE417D81-9D62-44B5-9A36-43CC1B66E142}" dt="2024-07-19T05:03:21.617" v="6084" actId="1076"/>
          <ac:picMkLst>
            <pc:docMk/>
            <pc:sldMk cId="3347821416" sldId="2147378698"/>
            <ac:picMk id="31" creationId="{16020430-00B1-287F-A924-BAA06D233495}"/>
          </ac:picMkLst>
        </pc:picChg>
        <pc:cxnChg chg="add del mod">
          <ac:chgData name="内山 裕弥" userId="8d34b9d0-ec49-418d-b1de-019cf6b56da5" providerId="ADAL" clId="{EE417D81-9D62-44B5-9A36-43CC1B66E142}" dt="2024-07-19T05:00:26.679" v="5535"/>
          <ac:cxnSpMkLst>
            <pc:docMk/>
            <pc:sldMk cId="3347821416" sldId="2147378698"/>
            <ac:cxnSpMk id="19" creationId="{84609300-97FD-ED0F-EE1A-28F74A42B3DF}"/>
          </ac:cxnSpMkLst>
        </pc:cxnChg>
        <pc:cxnChg chg="add del mod">
          <ac:chgData name="内山 裕弥" userId="8d34b9d0-ec49-418d-b1de-019cf6b56da5" providerId="ADAL" clId="{EE417D81-9D62-44B5-9A36-43CC1B66E142}" dt="2024-07-19T05:00:26.679" v="5535"/>
          <ac:cxnSpMkLst>
            <pc:docMk/>
            <pc:sldMk cId="3347821416" sldId="2147378698"/>
            <ac:cxnSpMk id="27" creationId="{971825AC-523F-5A0C-45DB-E4D85E2068C1}"/>
          </ac:cxnSpMkLst>
        </pc:cxnChg>
      </pc:sldChg>
      <pc:sldChg chg="addSp delSp modSp mod">
        <pc:chgData name="内山 裕弥" userId="8d34b9d0-ec49-418d-b1de-019cf6b56da5" providerId="ADAL" clId="{EE417D81-9D62-44B5-9A36-43CC1B66E142}" dt="2024-07-19T05:13:20.285" v="7533" actId="207"/>
        <pc:sldMkLst>
          <pc:docMk/>
          <pc:sldMk cId="190838501" sldId="2147378699"/>
        </pc:sldMkLst>
        <pc:spChg chg="add mod">
          <ac:chgData name="内山 裕弥" userId="8d34b9d0-ec49-418d-b1de-019cf6b56da5" providerId="ADAL" clId="{EE417D81-9D62-44B5-9A36-43CC1B66E142}" dt="2024-07-19T05:13:14.230" v="7518" actId="20577"/>
          <ac:spMkLst>
            <pc:docMk/>
            <pc:sldMk cId="190838501" sldId="2147378699"/>
            <ac:spMk id="3" creationId="{C3720E54-FD1F-DDED-C885-DFDBDFBC33BD}"/>
          </ac:spMkLst>
        </pc:spChg>
        <pc:spChg chg="mod">
          <ac:chgData name="内山 裕弥" userId="8d34b9d0-ec49-418d-b1de-019cf6b56da5" providerId="ADAL" clId="{EE417D81-9D62-44B5-9A36-43CC1B66E142}" dt="2024-07-19T05:13:20.285" v="7533" actId="207"/>
          <ac:spMkLst>
            <pc:docMk/>
            <pc:sldMk cId="190838501" sldId="2147378699"/>
            <ac:spMk id="7" creationId="{58DA3483-121F-7012-3B2F-2B488EE5EECD}"/>
          </ac:spMkLst>
        </pc:spChg>
        <pc:spChg chg="del mod">
          <ac:chgData name="内山 裕弥" userId="8d34b9d0-ec49-418d-b1de-019cf6b56da5" providerId="ADAL" clId="{EE417D81-9D62-44B5-9A36-43CC1B66E142}" dt="2024-07-19T05:09:12.033" v="6729"/>
          <ac:spMkLst>
            <pc:docMk/>
            <pc:sldMk cId="190838501" sldId="2147378699"/>
            <ac:spMk id="13" creationId="{820553A6-BC6E-8438-3B81-A49B23C28ABF}"/>
          </ac:spMkLst>
        </pc:spChg>
        <pc:graphicFrameChg chg="mod modGraphic">
          <ac:chgData name="内山 裕弥" userId="8d34b9d0-ec49-418d-b1de-019cf6b56da5" providerId="ADAL" clId="{EE417D81-9D62-44B5-9A36-43CC1B66E142}" dt="2024-07-19T05:11:43.411" v="7391" actId="207"/>
          <ac:graphicFrameMkLst>
            <pc:docMk/>
            <pc:sldMk cId="190838501" sldId="2147378699"/>
            <ac:graphicFrameMk id="2" creationId="{5E62C5DD-8E38-39C6-A171-A79017DD18C4}"/>
          </ac:graphicFrameMkLst>
        </pc:graphicFrameChg>
      </pc:sldChg>
      <pc:sldChg chg="addSp delSp modSp mod">
        <pc:chgData name="内山 裕弥" userId="8d34b9d0-ec49-418d-b1de-019cf6b56da5" providerId="ADAL" clId="{EE417D81-9D62-44B5-9A36-43CC1B66E142}" dt="2024-07-19T05:16:18.080" v="7641" actId="1076"/>
        <pc:sldMkLst>
          <pc:docMk/>
          <pc:sldMk cId="959679513" sldId="2147378701"/>
        </pc:sldMkLst>
        <pc:spChg chg="add mod">
          <ac:chgData name="内山 裕弥" userId="8d34b9d0-ec49-418d-b1de-019cf6b56da5" providerId="ADAL" clId="{EE417D81-9D62-44B5-9A36-43CC1B66E142}" dt="2024-07-19T05:16:18.080" v="7641" actId="1076"/>
          <ac:spMkLst>
            <pc:docMk/>
            <pc:sldMk cId="959679513" sldId="2147378701"/>
            <ac:spMk id="4" creationId="{C0D0AFEB-3FED-E797-776D-18785F5B85FD}"/>
          </ac:spMkLst>
        </pc:spChg>
        <pc:spChg chg="del mod">
          <ac:chgData name="内山 裕弥" userId="8d34b9d0-ec49-418d-b1de-019cf6b56da5" providerId="ADAL" clId="{EE417D81-9D62-44B5-9A36-43CC1B66E142}" dt="2024-07-19T05:14:15.842" v="7538" actId="478"/>
          <ac:spMkLst>
            <pc:docMk/>
            <pc:sldMk cId="959679513" sldId="2147378701"/>
            <ac:spMk id="8" creationId="{71D39E2A-2214-4448-8774-2A3AB120A9B7}"/>
          </ac:spMkLst>
        </pc:spChg>
        <pc:graphicFrameChg chg="mod modGraphic">
          <ac:chgData name="内山 裕弥" userId="8d34b9d0-ec49-418d-b1de-019cf6b56da5" providerId="ADAL" clId="{EE417D81-9D62-44B5-9A36-43CC1B66E142}" dt="2024-07-19T05:16:13.158" v="7638" actId="20577"/>
          <ac:graphicFrameMkLst>
            <pc:docMk/>
            <pc:sldMk cId="959679513" sldId="2147378701"/>
            <ac:graphicFrameMk id="3" creationId="{1E352AD7-4D05-33EE-61E0-3F07FA0F915F}"/>
          </ac:graphicFrameMkLst>
        </pc:graphicFrameChg>
      </pc:sldChg>
      <pc:sldChg chg="addSp delSp modSp mod">
        <pc:chgData name="内山 裕弥" userId="8d34b9d0-ec49-418d-b1de-019cf6b56da5" providerId="ADAL" clId="{EE417D81-9D62-44B5-9A36-43CC1B66E142}" dt="2024-07-19T05:19:27.007" v="8095" actId="20577"/>
        <pc:sldMkLst>
          <pc:docMk/>
          <pc:sldMk cId="444370572" sldId="2147378702"/>
        </pc:sldMkLst>
        <pc:spChg chg="add mod">
          <ac:chgData name="内山 裕弥" userId="8d34b9d0-ec49-418d-b1de-019cf6b56da5" providerId="ADAL" clId="{EE417D81-9D62-44B5-9A36-43CC1B66E142}" dt="2024-07-19T05:19:05.543" v="8049" actId="14100"/>
          <ac:spMkLst>
            <pc:docMk/>
            <pc:sldMk cId="444370572" sldId="2147378702"/>
            <ac:spMk id="3" creationId="{85ECF3D7-D949-2422-CEE1-82F658C4178F}"/>
          </ac:spMkLst>
        </pc:spChg>
        <pc:spChg chg="del mod">
          <ac:chgData name="内山 裕弥" userId="8d34b9d0-ec49-418d-b1de-019cf6b56da5" providerId="ADAL" clId="{EE417D81-9D62-44B5-9A36-43CC1B66E142}" dt="2024-07-19T05:18:05.485" v="7726" actId="21"/>
          <ac:spMkLst>
            <pc:docMk/>
            <pc:sldMk cId="444370572" sldId="2147378702"/>
            <ac:spMk id="8" creationId="{D1777F5A-ADD4-8079-B2FB-C275A4CB4350}"/>
          </ac:spMkLst>
        </pc:spChg>
        <pc:graphicFrameChg chg="mod modGraphic">
          <ac:chgData name="内山 裕弥" userId="8d34b9d0-ec49-418d-b1de-019cf6b56da5" providerId="ADAL" clId="{EE417D81-9D62-44B5-9A36-43CC1B66E142}" dt="2024-07-19T05:19:27.007" v="8095" actId="20577"/>
          <ac:graphicFrameMkLst>
            <pc:docMk/>
            <pc:sldMk cId="444370572" sldId="2147378702"/>
            <ac:graphicFrameMk id="4" creationId="{07092873-AD2F-3B69-2A42-020154D983DE}"/>
          </ac:graphicFrameMkLst>
        </pc:graphicFrameChg>
      </pc:sldChg>
      <pc:sldChg chg="addSp delSp modSp mod">
        <pc:chgData name="内山 裕弥" userId="8d34b9d0-ec49-418d-b1de-019cf6b56da5" providerId="ADAL" clId="{EE417D81-9D62-44B5-9A36-43CC1B66E142}" dt="2024-07-19T05:22:18.048" v="8393"/>
        <pc:sldMkLst>
          <pc:docMk/>
          <pc:sldMk cId="112285639" sldId="2147378703"/>
        </pc:sldMkLst>
        <pc:spChg chg="del mod">
          <ac:chgData name="内山 裕弥" userId="8d34b9d0-ec49-418d-b1de-019cf6b56da5" providerId="ADAL" clId="{EE417D81-9D62-44B5-9A36-43CC1B66E142}" dt="2024-07-19T05:22:18.048" v="8393"/>
          <ac:spMkLst>
            <pc:docMk/>
            <pc:sldMk cId="112285639" sldId="2147378703"/>
            <ac:spMk id="7" creationId="{13123BD9-EA94-41EC-E2B6-C4AA60DA2C07}"/>
          </ac:spMkLst>
        </pc:spChg>
        <pc:spChg chg="add del mod">
          <ac:chgData name="内山 裕弥" userId="8d34b9d0-ec49-418d-b1de-019cf6b56da5" providerId="ADAL" clId="{EE417D81-9D62-44B5-9A36-43CC1B66E142}" dt="2024-07-19T05:19:50.668" v="8097"/>
          <ac:spMkLst>
            <pc:docMk/>
            <pc:sldMk cId="112285639" sldId="2147378703"/>
            <ac:spMk id="10" creationId="{06B428BC-EDB0-FF3F-A46F-A836AB048221}"/>
          </ac:spMkLst>
        </pc:spChg>
        <pc:spChg chg="add del mod">
          <ac:chgData name="内山 裕弥" userId="8d34b9d0-ec49-418d-b1de-019cf6b56da5" providerId="ADAL" clId="{EE417D81-9D62-44B5-9A36-43CC1B66E142}" dt="2024-07-19T05:19:50.668" v="8097"/>
          <ac:spMkLst>
            <pc:docMk/>
            <pc:sldMk cId="112285639" sldId="2147378703"/>
            <ac:spMk id="11" creationId="{32FF2880-52F8-A9D6-6DD5-99362CFABE2B}"/>
          </ac:spMkLst>
        </pc:spChg>
        <pc:spChg chg="add mod">
          <ac:chgData name="内山 裕弥" userId="8d34b9d0-ec49-418d-b1de-019cf6b56da5" providerId="ADAL" clId="{EE417D81-9D62-44B5-9A36-43CC1B66E142}" dt="2024-07-19T05:22:17.024" v="8391" actId="20577"/>
          <ac:spMkLst>
            <pc:docMk/>
            <pc:sldMk cId="112285639" sldId="2147378703"/>
            <ac:spMk id="13" creationId="{ED88E5C2-1CEC-3507-1A41-A32A9F740D09}"/>
          </ac:spMkLst>
        </pc:spChg>
        <pc:picChg chg="add del mod">
          <ac:chgData name="内山 裕弥" userId="8d34b9d0-ec49-418d-b1de-019cf6b56da5" providerId="ADAL" clId="{EE417D81-9D62-44B5-9A36-43CC1B66E142}" dt="2024-07-19T05:19:50.668" v="8097"/>
          <ac:picMkLst>
            <pc:docMk/>
            <pc:sldMk cId="112285639" sldId="2147378703"/>
            <ac:picMk id="5" creationId="{FE1A3A15-8A01-4080-FA18-22D1F9F0DEA5}"/>
          </ac:picMkLst>
        </pc:picChg>
        <pc:picChg chg="add del mod">
          <ac:chgData name="内山 裕弥" userId="8d34b9d0-ec49-418d-b1de-019cf6b56da5" providerId="ADAL" clId="{EE417D81-9D62-44B5-9A36-43CC1B66E142}" dt="2024-07-19T05:19:50.668" v="8097"/>
          <ac:picMkLst>
            <pc:docMk/>
            <pc:sldMk cId="112285639" sldId="2147378703"/>
            <ac:picMk id="8" creationId="{0466BE76-ED4C-E34B-64FC-482178DB1F72}"/>
          </ac:picMkLst>
        </pc:picChg>
        <pc:picChg chg="add del mod">
          <ac:chgData name="内山 裕弥" userId="8d34b9d0-ec49-418d-b1de-019cf6b56da5" providerId="ADAL" clId="{EE417D81-9D62-44B5-9A36-43CC1B66E142}" dt="2024-07-19T05:19:50.668" v="8097"/>
          <ac:picMkLst>
            <pc:docMk/>
            <pc:sldMk cId="112285639" sldId="2147378703"/>
            <ac:picMk id="9" creationId="{6E359903-7DE7-9141-4BE4-332E4020187F}"/>
          </ac:picMkLst>
        </pc:picChg>
        <pc:picChg chg="add mod ord">
          <ac:chgData name="内山 裕弥" userId="8d34b9d0-ec49-418d-b1de-019cf6b56da5" providerId="ADAL" clId="{EE417D81-9D62-44B5-9A36-43CC1B66E142}" dt="2024-07-19T05:19:54.057" v="8100" actId="167"/>
          <ac:picMkLst>
            <pc:docMk/>
            <pc:sldMk cId="112285639" sldId="2147378703"/>
            <ac:picMk id="12" creationId="{920D49B5-780A-0B0E-081E-8188B35BACC6}"/>
          </ac:picMkLst>
        </pc:picChg>
      </pc:sldChg>
      <pc:sldChg chg="addSp delSp modSp mod">
        <pc:chgData name="内山 裕弥" userId="8d34b9d0-ec49-418d-b1de-019cf6b56da5" providerId="ADAL" clId="{EE417D81-9D62-44B5-9A36-43CC1B66E142}" dt="2024-07-19T05:40:12.134" v="8590" actId="20577"/>
        <pc:sldMkLst>
          <pc:docMk/>
          <pc:sldMk cId="936371591" sldId="2147378704"/>
        </pc:sldMkLst>
        <pc:spChg chg="del mod">
          <ac:chgData name="内山 裕弥" userId="8d34b9d0-ec49-418d-b1de-019cf6b56da5" providerId="ADAL" clId="{EE417D81-9D62-44B5-9A36-43CC1B66E142}" dt="2024-07-19T05:39:54.075" v="8569" actId="478"/>
          <ac:spMkLst>
            <pc:docMk/>
            <pc:sldMk cId="936371591" sldId="2147378704"/>
            <ac:spMk id="6" creationId="{EE1A8DD0-7861-68AD-CE1F-C58C26FB75A7}"/>
          </ac:spMkLst>
        </pc:spChg>
        <pc:spChg chg="add mod">
          <ac:chgData name="内山 裕弥" userId="8d34b9d0-ec49-418d-b1de-019cf6b56da5" providerId="ADAL" clId="{EE417D81-9D62-44B5-9A36-43CC1B66E142}" dt="2024-07-19T05:40:12.134" v="8590" actId="20577"/>
          <ac:spMkLst>
            <pc:docMk/>
            <pc:sldMk cId="936371591" sldId="2147378704"/>
            <ac:spMk id="7" creationId="{91D9460F-1390-32F5-1B0E-70693C6D1EFA}"/>
          </ac:spMkLst>
        </pc:spChg>
      </pc:sldChg>
      <pc:sldChg chg="addSp delSp modSp mod">
        <pc:chgData name="内山 裕弥" userId="8d34b9d0-ec49-418d-b1de-019cf6b56da5" providerId="ADAL" clId="{EE417D81-9D62-44B5-9A36-43CC1B66E142}" dt="2024-07-19T11:09:42.960" v="9176" actId="20577"/>
        <pc:sldMkLst>
          <pc:docMk/>
          <pc:sldMk cId="439687747" sldId="2147378705"/>
        </pc:sldMkLst>
        <pc:spChg chg="del mod">
          <ac:chgData name="内山 裕弥" userId="8d34b9d0-ec49-418d-b1de-019cf6b56da5" providerId="ADAL" clId="{EE417D81-9D62-44B5-9A36-43CC1B66E142}" dt="2024-07-19T05:44:40.672" v="8797" actId="478"/>
          <ac:spMkLst>
            <pc:docMk/>
            <pc:sldMk cId="439687747" sldId="2147378705"/>
            <ac:spMk id="6" creationId="{51E1427A-1AD7-A39D-51B3-B200A147782B}"/>
          </ac:spMkLst>
        </pc:spChg>
        <pc:spChg chg="mod">
          <ac:chgData name="内山 裕弥" userId="8d34b9d0-ec49-418d-b1de-019cf6b56da5" providerId="ADAL" clId="{EE417D81-9D62-44B5-9A36-43CC1B66E142}" dt="2024-07-19T05:44:33.761" v="8792" actId="1076"/>
          <ac:spMkLst>
            <pc:docMk/>
            <pc:sldMk cId="439687747" sldId="2147378705"/>
            <ac:spMk id="8" creationId="{38333055-868E-3B45-D1A3-9ED0F6B26E6C}"/>
          </ac:spMkLst>
        </pc:spChg>
        <pc:spChg chg="add mod">
          <ac:chgData name="内山 裕弥" userId="8d34b9d0-ec49-418d-b1de-019cf6b56da5" providerId="ADAL" clId="{EE417D81-9D62-44B5-9A36-43CC1B66E142}" dt="2024-07-19T11:09:42.960" v="9176" actId="20577"/>
          <ac:spMkLst>
            <pc:docMk/>
            <pc:sldMk cId="439687747" sldId="2147378705"/>
            <ac:spMk id="11" creationId="{1A8F0DD0-8F45-CA15-6129-E1D2CD076C53}"/>
          </ac:spMkLst>
        </pc:spChg>
        <pc:grpChg chg="add mod">
          <ac:chgData name="内山 裕弥" userId="8d34b9d0-ec49-418d-b1de-019cf6b56da5" providerId="ADAL" clId="{EE417D81-9D62-44B5-9A36-43CC1B66E142}" dt="2024-07-19T05:44:33.761" v="8792" actId="1076"/>
          <ac:grpSpMkLst>
            <pc:docMk/>
            <pc:sldMk cId="439687747" sldId="2147378705"/>
            <ac:grpSpMk id="7" creationId="{C704F631-0929-C676-BDD4-CB82AEA6081F}"/>
          </ac:grpSpMkLst>
        </pc:grpChg>
        <pc:graphicFrameChg chg="add mod modGraphic">
          <ac:chgData name="内山 裕弥" userId="8d34b9d0-ec49-418d-b1de-019cf6b56da5" providerId="ADAL" clId="{EE417D81-9D62-44B5-9A36-43CC1B66E142}" dt="2024-07-19T11:07:07.167" v="9021" actId="207"/>
          <ac:graphicFrameMkLst>
            <pc:docMk/>
            <pc:sldMk cId="439687747" sldId="2147378705"/>
            <ac:graphicFrameMk id="2" creationId="{D78F7A95-31FB-06D3-5B63-5BEDF8ABCBC0}"/>
          </ac:graphicFrameMkLst>
        </pc:graphicFrameChg>
        <pc:cxnChg chg="mod">
          <ac:chgData name="内山 裕弥" userId="8d34b9d0-ec49-418d-b1de-019cf6b56da5" providerId="ADAL" clId="{EE417D81-9D62-44B5-9A36-43CC1B66E142}" dt="2024-07-19T05:44:33.761" v="8792" actId="1076"/>
          <ac:cxnSpMkLst>
            <pc:docMk/>
            <pc:sldMk cId="439687747" sldId="2147378705"/>
            <ac:cxnSpMk id="10" creationId="{6735B9E2-CEAA-B979-67C8-2554417B1CDE}"/>
          </ac:cxnSpMkLst>
        </pc:cxnChg>
      </pc:sldChg>
      <pc:sldChg chg="addSp modSp mod">
        <pc:chgData name="内山 裕弥" userId="8d34b9d0-ec49-418d-b1de-019cf6b56da5" providerId="ADAL" clId="{EE417D81-9D62-44B5-9A36-43CC1B66E142}" dt="2024-07-19T11:08:38.293" v="9124" actId="20577"/>
        <pc:sldMkLst>
          <pc:docMk/>
          <pc:sldMk cId="1075793544" sldId="2147378706"/>
        </pc:sldMkLst>
        <pc:spChg chg="mod">
          <ac:chgData name="内山 裕弥" userId="8d34b9d0-ec49-418d-b1de-019cf6b56da5" providerId="ADAL" clId="{EE417D81-9D62-44B5-9A36-43CC1B66E142}" dt="2024-07-19T11:07:24.040" v="9024" actId="1076"/>
          <ac:spMkLst>
            <pc:docMk/>
            <pc:sldMk cId="1075793544" sldId="2147378706"/>
            <ac:spMk id="6" creationId="{9FFD2353-EF62-BFA0-5B44-F7ABF536D584}"/>
          </ac:spMkLst>
        </pc:spChg>
        <pc:spChg chg="add mod">
          <ac:chgData name="内山 裕弥" userId="8d34b9d0-ec49-418d-b1de-019cf6b56da5" providerId="ADAL" clId="{EE417D81-9D62-44B5-9A36-43CC1B66E142}" dt="2024-07-19T11:08:23.418" v="9065" actId="14100"/>
          <ac:spMkLst>
            <pc:docMk/>
            <pc:sldMk cId="1075793544" sldId="2147378706"/>
            <ac:spMk id="8" creationId="{01D4BCA7-C89A-20E2-6428-C51A003E8B36}"/>
          </ac:spMkLst>
        </pc:spChg>
        <pc:spChg chg="add mod">
          <ac:chgData name="内山 裕弥" userId="8d34b9d0-ec49-418d-b1de-019cf6b56da5" providerId="ADAL" clId="{EE417D81-9D62-44B5-9A36-43CC1B66E142}" dt="2024-07-19T11:07:24.040" v="9024" actId="1076"/>
          <ac:spMkLst>
            <pc:docMk/>
            <pc:sldMk cId="1075793544" sldId="2147378706"/>
            <ac:spMk id="10" creationId="{C6836692-CDAE-C475-A8B0-1602682A1D72}"/>
          </ac:spMkLst>
        </pc:spChg>
        <pc:spChg chg="add mod">
          <ac:chgData name="内山 裕弥" userId="8d34b9d0-ec49-418d-b1de-019cf6b56da5" providerId="ADAL" clId="{EE417D81-9D62-44B5-9A36-43CC1B66E142}" dt="2024-07-19T11:08:23.418" v="9065" actId="14100"/>
          <ac:spMkLst>
            <pc:docMk/>
            <pc:sldMk cId="1075793544" sldId="2147378706"/>
            <ac:spMk id="11" creationId="{F671E48A-0AEB-34DC-C9B0-947ACB9BE53F}"/>
          </ac:spMkLst>
        </pc:spChg>
        <pc:spChg chg="add mod">
          <ac:chgData name="内山 裕弥" userId="8d34b9d0-ec49-418d-b1de-019cf6b56da5" providerId="ADAL" clId="{EE417D81-9D62-44B5-9A36-43CC1B66E142}" dt="2024-07-19T11:07:24.040" v="9024" actId="1076"/>
          <ac:spMkLst>
            <pc:docMk/>
            <pc:sldMk cId="1075793544" sldId="2147378706"/>
            <ac:spMk id="12" creationId="{F1215F89-A0A0-AB28-F8E7-84581D64B7EE}"/>
          </ac:spMkLst>
        </pc:spChg>
        <pc:spChg chg="add mod">
          <ac:chgData name="内山 裕弥" userId="8d34b9d0-ec49-418d-b1de-019cf6b56da5" providerId="ADAL" clId="{EE417D81-9D62-44B5-9A36-43CC1B66E142}" dt="2024-07-19T11:08:23.418" v="9065" actId="14100"/>
          <ac:spMkLst>
            <pc:docMk/>
            <pc:sldMk cId="1075793544" sldId="2147378706"/>
            <ac:spMk id="13" creationId="{DD2FC9B4-133C-45AC-F63A-4DA5444194C1}"/>
          </ac:spMkLst>
        </pc:spChg>
        <pc:spChg chg="add mod">
          <ac:chgData name="内山 裕弥" userId="8d34b9d0-ec49-418d-b1de-019cf6b56da5" providerId="ADAL" clId="{EE417D81-9D62-44B5-9A36-43CC1B66E142}" dt="2024-07-19T11:07:24.040" v="9024" actId="1076"/>
          <ac:spMkLst>
            <pc:docMk/>
            <pc:sldMk cId="1075793544" sldId="2147378706"/>
            <ac:spMk id="14" creationId="{85688145-F176-E15B-9ADA-FF1D4E4EAD73}"/>
          </ac:spMkLst>
        </pc:spChg>
        <pc:spChg chg="add mod">
          <ac:chgData name="内山 裕弥" userId="8d34b9d0-ec49-418d-b1de-019cf6b56da5" providerId="ADAL" clId="{EE417D81-9D62-44B5-9A36-43CC1B66E142}" dt="2024-07-19T11:08:23.418" v="9065" actId="14100"/>
          <ac:spMkLst>
            <pc:docMk/>
            <pc:sldMk cId="1075793544" sldId="2147378706"/>
            <ac:spMk id="15" creationId="{9CA01B65-AA7F-E153-53A0-22F4C72906C9}"/>
          </ac:spMkLst>
        </pc:spChg>
        <pc:spChg chg="add mod">
          <ac:chgData name="内山 裕弥" userId="8d34b9d0-ec49-418d-b1de-019cf6b56da5" providerId="ADAL" clId="{EE417D81-9D62-44B5-9A36-43CC1B66E142}" dt="2024-07-19T11:07:24.040" v="9024" actId="1076"/>
          <ac:spMkLst>
            <pc:docMk/>
            <pc:sldMk cId="1075793544" sldId="2147378706"/>
            <ac:spMk id="16" creationId="{4ED0277C-A056-D022-829C-561BA5F238E4}"/>
          </ac:spMkLst>
        </pc:spChg>
        <pc:spChg chg="add mod">
          <ac:chgData name="内山 裕弥" userId="8d34b9d0-ec49-418d-b1de-019cf6b56da5" providerId="ADAL" clId="{EE417D81-9D62-44B5-9A36-43CC1B66E142}" dt="2024-07-19T11:08:23.418" v="9065" actId="14100"/>
          <ac:spMkLst>
            <pc:docMk/>
            <pc:sldMk cId="1075793544" sldId="2147378706"/>
            <ac:spMk id="20" creationId="{E8836C59-B8B6-C85D-E010-EBC8663348AC}"/>
          </ac:spMkLst>
        </pc:spChg>
        <pc:spChg chg="add mod">
          <ac:chgData name="内山 裕弥" userId="8d34b9d0-ec49-418d-b1de-019cf6b56da5" providerId="ADAL" clId="{EE417D81-9D62-44B5-9A36-43CC1B66E142}" dt="2024-07-19T11:07:24.040" v="9024" actId="1076"/>
          <ac:spMkLst>
            <pc:docMk/>
            <pc:sldMk cId="1075793544" sldId="2147378706"/>
            <ac:spMk id="21" creationId="{8B2388F4-8880-EE2F-03BB-997FC1E6C222}"/>
          </ac:spMkLst>
        </pc:spChg>
        <pc:spChg chg="add mod">
          <ac:chgData name="内山 裕弥" userId="8d34b9d0-ec49-418d-b1de-019cf6b56da5" providerId="ADAL" clId="{EE417D81-9D62-44B5-9A36-43CC1B66E142}" dt="2024-07-19T11:08:23.418" v="9065" actId="14100"/>
          <ac:spMkLst>
            <pc:docMk/>
            <pc:sldMk cId="1075793544" sldId="2147378706"/>
            <ac:spMk id="22" creationId="{9D9B6B73-E941-4FB2-6F67-6D2282E2F654}"/>
          </ac:spMkLst>
        </pc:spChg>
        <pc:spChg chg="add mod">
          <ac:chgData name="内山 裕弥" userId="8d34b9d0-ec49-418d-b1de-019cf6b56da5" providerId="ADAL" clId="{EE417D81-9D62-44B5-9A36-43CC1B66E142}" dt="2024-07-19T11:07:24.040" v="9024" actId="1076"/>
          <ac:spMkLst>
            <pc:docMk/>
            <pc:sldMk cId="1075793544" sldId="2147378706"/>
            <ac:spMk id="23" creationId="{40803D02-B102-890E-D54A-16FBEA6E318B}"/>
          </ac:spMkLst>
        </pc:spChg>
        <pc:spChg chg="add mod">
          <ac:chgData name="内山 裕弥" userId="8d34b9d0-ec49-418d-b1de-019cf6b56da5" providerId="ADAL" clId="{EE417D81-9D62-44B5-9A36-43CC1B66E142}" dt="2024-07-19T11:08:23.418" v="9065" actId="14100"/>
          <ac:spMkLst>
            <pc:docMk/>
            <pc:sldMk cId="1075793544" sldId="2147378706"/>
            <ac:spMk id="24" creationId="{282F57DD-EF41-A330-6783-2B46B29B454B}"/>
          </ac:spMkLst>
        </pc:spChg>
        <pc:spChg chg="add mod">
          <ac:chgData name="内山 裕弥" userId="8d34b9d0-ec49-418d-b1de-019cf6b56da5" providerId="ADAL" clId="{EE417D81-9D62-44B5-9A36-43CC1B66E142}" dt="2024-07-19T11:07:24.040" v="9024" actId="1076"/>
          <ac:spMkLst>
            <pc:docMk/>
            <pc:sldMk cId="1075793544" sldId="2147378706"/>
            <ac:spMk id="25" creationId="{E4B5370A-7499-03A1-CF77-0E693D5DDE7E}"/>
          </ac:spMkLst>
        </pc:spChg>
        <pc:spChg chg="add mod">
          <ac:chgData name="内山 裕弥" userId="8d34b9d0-ec49-418d-b1de-019cf6b56da5" providerId="ADAL" clId="{EE417D81-9D62-44B5-9A36-43CC1B66E142}" dt="2024-07-19T11:08:23.418" v="9065" actId="14100"/>
          <ac:spMkLst>
            <pc:docMk/>
            <pc:sldMk cId="1075793544" sldId="2147378706"/>
            <ac:spMk id="26" creationId="{5E459C84-978B-D044-BE65-FCB09332A3B0}"/>
          </ac:spMkLst>
        </pc:spChg>
        <pc:spChg chg="add mod">
          <ac:chgData name="内山 裕弥" userId="8d34b9d0-ec49-418d-b1de-019cf6b56da5" providerId="ADAL" clId="{EE417D81-9D62-44B5-9A36-43CC1B66E142}" dt="2024-07-19T11:07:24.040" v="9024" actId="1076"/>
          <ac:spMkLst>
            <pc:docMk/>
            <pc:sldMk cId="1075793544" sldId="2147378706"/>
            <ac:spMk id="27" creationId="{C5731C2D-659C-4328-D18C-83B7B6BBC6DF}"/>
          </ac:spMkLst>
        </pc:spChg>
        <pc:spChg chg="add mod">
          <ac:chgData name="内山 裕弥" userId="8d34b9d0-ec49-418d-b1de-019cf6b56da5" providerId="ADAL" clId="{EE417D81-9D62-44B5-9A36-43CC1B66E142}" dt="2024-07-19T11:08:23.418" v="9065" actId="14100"/>
          <ac:spMkLst>
            <pc:docMk/>
            <pc:sldMk cId="1075793544" sldId="2147378706"/>
            <ac:spMk id="28" creationId="{55864B40-97CF-F0B3-B2B5-B6FFCF2C3E5B}"/>
          </ac:spMkLst>
        </pc:spChg>
        <pc:spChg chg="add mod">
          <ac:chgData name="内山 裕弥" userId="8d34b9d0-ec49-418d-b1de-019cf6b56da5" providerId="ADAL" clId="{EE417D81-9D62-44B5-9A36-43CC1B66E142}" dt="2024-07-19T11:07:24.040" v="9024" actId="1076"/>
          <ac:spMkLst>
            <pc:docMk/>
            <pc:sldMk cId="1075793544" sldId="2147378706"/>
            <ac:spMk id="29" creationId="{6066413C-AE1D-EB1F-F755-AA17280E6D6B}"/>
          </ac:spMkLst>
        </pc:spChg>
        <pc:spChg chg="add mod">
          <ac:chgData name="内山 裕弥" userId="8d34b9d0-ec49-418d-b1de-019cf6b56da5" providerId="ADAL" clId="{EE417D81-9D62-44B5-9A36-43CC1B66E142}" dt="2024-07-19T11:08:23.418" v="9065" actId="14100"/>
          <ac:spMkLst>
            <pc:docMk/>
            <pc:sldMk cId="1075793544" sldId="2147378706"/>
            <ac:spMk id="30" creationId="{73C2D3B9-B7E8-F47D-F1E3-D52A1C96AB7D}"/>
          </ac:spMkLst>
        </pc:spChg>
        <pc:spChg chg="add mod">
          <ac:chgData name="内山 裕弥" userId="8d34b9d0-ec49-418d-b1de-019cf6b56da5" providerId="ADAL" clId="{EE417D81-9D62-44B5-9A36-43CC1B66E142}" dt="2024-07-19T11:07:24.040" v="9024" actId="1076"/>
          <ac:spMkLst>
            <pc:docMk/>
            <pc:sldMk cId="1075793544" sldId="2147378706"/>
            <ac:spMk id="31" creationId="{26A09F49-1E75-5FA2-7FCE-7166D389CEA9}"/>
          </ac:spMkLst>
        </pc:spChg>
        <pc:spChg chg="add mod">
          <ac:chgData name="内山 裕弥" userId="8d34b9d0-ec49-418d-b1de-019cf6b56da5" providerId="ADAL" clId="{EE417D81-9D62-44B5-9A36-43CC1B66E142}" dt="2024-07-19T11:08:10.903" v="9062" actId="14100"/>
          <ac:spMkLst>
            <pc:docMk/>
            <pc:sldMk cId="1075793544" sldId="2147378706"/>
            <ac:spMk id="33" creationId="{0B64D96B-A150-F2DE-7473-4CD8D8C60016}"/>
          </ac:spMkLst>
        </pc:spChg>
        <pc:spChg chg="add mod">
          <ac:chgData name="内山 裕弥" userId="8d34b9d0-ec49-418d-b1de-019cf6b56da5" providerId="ADAL" clId="{EE417D81-9D62-44B5-9A36-43CC1B66E142}" dt="2024-07-19T11:07:24.040" v="9024" actId="1076"/>
          <ac:spMkLst>
            <pc:docMk/>
            <pc:sldMk cId="1075793544" sldId="2147378706"/>
            <ac:spMk id="34" creationId="{A7CA29C7-B260-867A-6467-CB38E6F69C54}"/>
          </ac:spMkLst>
        </pc:spChg>
        <pc:spChg chg="add mod">
          <ac:chgData name="内山 裕弥" userId="8d34b9d0-ec49-418d-b1de-019cf6b56da5" providerId="ADAL" clId="{EE417D81-9D62-44B5-9A36-43CC1B66E142}" dt="2024-07-19T11:08:10.903" v="9062" actId="14100"/>
          <ac:spMkLst>
            <pc:docMk/>
            <pc:sldMk cId="1075793544" sldId="2147378706"/>
            <ac:spMk id="36" creationId="{80884C5C-1F6D-E162-A074-F65661FD98B3}"/>
          </ac:spMkLst>
        </pc:spChg>
        <pc:spChg chg="add mod">
          <ac:chgData name="内山 裕弥" userId="8d34b9d0-ec49-418d-b1de-019cf6b56da5" providerId="ADAL" clId="{EE417D81-9D62-44B5-9A36-43CC1B66E142}" dt="2024-07-19T11:07:24.040" v="9024" actId="1076"/>
          <ac:spMkLst>
            <pc:docMk/>
            <pc:sldMk cId="1075793544" sldId="2147378706"/>
            <ac:spMk id="37" creationId="{1DE1309E-B0E0-21F8-EF43-640ECB6D56F5}"/>
          </ac:spMkLst>
        </pc:spChg>
        <pc:spChg chg="add mod">
          <ac:chgData name="内山 裕弥" userId="8d34b9d0-ec49-418d-b1de-019cf6b56da5" providerId="ADAL" clId="{EE417D81-9D62-44B5-9A36-43CC1B66E142}" dt="2024-07-19T11:08:10.903" v="9062" actId="14100"/>
          <ac:spMkLst>
            <pc:docMk/>
            <pc:sldMk cId="1075793544" sldId="2147378706"/>
            <ac:spMk id="38" creationId="{F1D12892-50BC-B332-CA0D-537FABFF159B}"/>
          </ac:spMkLst>
        </pc:spChg>
        <pc:spChg chg="add mod">
          <ac:chgData name="内山 裕弥" userId="8d34b9d0-ec49-418d-b1de-019cf6b56da5" providerId="ADAL" clId="{EE417D81-9D62-44B5-9A36-43CC1B66E142}" dt="2024-07-19T11:07:24.040" v="9024" actId="1076"/>
          <ac:spMkLst>
            <pc:docMk/>
            <pc:sldMk cId="1075793544" sldId="2147378706"/>
            <ac:spMk id="39" creationId="{16E41540-A219-2419-B67C-A2AE13CFB814}"/>
          </ac:spMkLst>
        </pc:spChg>
        <pc:spChg chg="add mod">
          <ac:chgData name="内山 裕弥" userId="8d34b9d0-ec49-418d-b1de-019cf6b56da5" providerId="ADAL" clId="{EE417D81-9D62-44B5-9A36-43CC1B66E142}" dt="2024-07-19T11:08:23.418" v="9065" actId="14100"/>
          <ac:spMkLst>
            <pc:docMk/>
            <pc:sldMk cId="1075793544" sldId="2147378706"/>
            <ac:spMk id="40" creationId="{C2888749-FFD2-DC62-AABB-61DFA8B597C7}"/>
          </ac:spMkLst>
        </pc:spChg>
        <pc:spChg chg="add mod">
          <ac:chgData name="内山 裕弥" userId="8d34b9d0-ec49-418d-b1de-019cf6b56da5" providerId="ADAL" clId="{EE417D81-9D62-44B5-9A36-43CC1B66E142}" dt="2024-07-19T11:07:24.040" v="9024" actId="1076"/>
          <ac:spMkLst>
            <pc:docMk/>
            <pc:sldMk cId="1075793544" sldId="2147378706"/>
            <ac:spMk id="41" creationId="{2249E747-F546-ABD1-FC84-71B243C4B29B}"/>
          </ac:spMkLst>
        </pc:spChg>
        <pc:spChg chg="add mod">
          <ac:chgData name="内山 裕弥" userId="8d34b9d0-ec49-418d-b1de-019cf6b56da5" providerId="ADAL" clId="{EE417D81-9D62-44B5-9A36-43CC1B66E142}" dt="2024-07-19T11:08:10.903" v="9062" actId="14100"/>
          <ac:spMkLst>
            <pc:docMk/>
            <pc:sldMk cId="1075793544" sldId="2147378706"/>
            <ac:spMk id="44" creationId="{11FC1E08-94B3-8FE9-9E3E-BC734176F0F1}"/>
          </ac:spMkLst>
        </pc:spChg>
        <pc:spChg chg="add mod">
          <ac:chgData name="内山 裕弥" userId="8d34b9d0-ec49-418d-b1de-019cf6b56da5" providerId="ADAL" clId="{EE417D81-9D62-44B5-9A36-43CC1B66E142}" dt="2024-07-19T11:07:24.040" v="9024" actId="1076"/>
          <ac:spMkLst>
            <pc:docMk/>
            <pc:sldMk cId="1075793544" sldId="2147378706"/>
            <ac:spMk id="45" creationId="{A34458C2-FB11-5CAF-BCC4-3B2308FFD976}"/>
          </ac:spMkLst>
        </pc:spChg>
        <pc:spChg chg="add mod">
          <ac:chgData name="内山 裕弥" userId="8d34b9d0-ec49-418d-b1de-019cf6b56da5" providerId="ADAL" clId="{EE417D81-9D62-44B5-9A36-43CC1B66E142}" dt="2024-07-19T11:08:10.903" v="9062" actId="14100"/>
          <ac:spMkLst>
            <pc:docMk/>
            <pc:sldMk cId="1075793544" sldId="2147378706"/>
            <ac:spMk id="46" creationId="{EAE7E9A2-9C75-5C55-3083-CF8CFC02DB28}"/>
          </ac:spMkLst>
        </pc:spChg>
        <pc:spChg chg="add mod">
          <ac:chgData name="内山 裕弥" userId="8d34b9d0-ec49-418d-b1de-019cf6b56da5" providerId="ADAL" clId="{EE417D81-9D62-44B5-9A36-43CC1B66E142}" dt="2024-07-19T11:07:24.040" v="9024" actId="1076"/>
          <ac:spMkLst>
            <pc:docMk/>
            <pc:sldMk cId="1075793544" sldId="2147378706"/>
            <ac:spMk id="47" creationId="{A43E12AD-B2EB-E739-14BE-B941DFF7D18A}"/>
          </ac:spMkLst>
        </pc:spChg>
        <pc:spChg chg="add mod">
          <ac:chgData name="内山 裕弥" userId="8d34b9d0-ec49-418d-b1de-019cf6b56da5" providerId="ADAL" clId="{EE417D81-9D62-44B5-9A36-43CC1B66E142}" dt="2024-07-19T11:08:10.903" v="9062" actId="14100"/>
          <ac:spMkLst>
            <pc:docMk/>
            <pc:sldMk cId="1075793544" sldId="2147378706"/>
            <ac:spMk id="48" creationId="{C80863E0-C0EC-A8A5-0450-8E2D5C9CF665}"/>
          </ac:spMkLst>
        </pc:spChg>
        <pc:spChg chg="add mod">
          <ac:chgData name="内山 裕弥" userId="8d34b9d0-ec49-418d-b1de-019cf6b56da5" providerId="ADAL" clId="{EE417D81-9D62-44B5-9A36-43CC1B66E142}" dt="2024-07-19T11:07:24.040" v="9024" actId="1076"/>
          <ac:spMkLst>
            <pc:docMk/>
            <pc:sldMk cId="1075793544" sldId="2147378706"/>
            <ac:spMk id="49" creationId="{A0D0579C-20A3-6CB7-7884-53E4873AFC1C}"/>
          </ac:spMkLst>
        </pc:spChg>
        <pc:spChg chg="add mod">
          <ac:chgData name="内山 裕弥" userId="8d34b9d0-ec49-418d-b1de-019cf6b56da5" providerId="ADAL" clId="{EE417D81-9D62-44B5-9A36-43CC1B66E142}" dt="2024-07-19T11:08:10.903" v="9062" actId="14100"/>
          <ac:spMkLst>
            <pc:docMk/>
            <pc:sldMk cId="1075793544" sldId="2147378706"/>
            <ac:spMk id="54" creationId="{257CE3ED-27EF-8BB9-8AC6-A65A773D1B5F}"/>
          </ac:spMkLst>
        </pc:spChg>
        <pc:spChg chg="add mod">
          <ac:chgData name="内山 裕弥" userId="8d34b9d0-ec49-418d-b1de-019cf6b56da5" providerId="ADAL" clId="{EE417D81-9D62-44B5-9A36-43CC1B66E142}" dt="2024-07-19T11:07:24.040" v="9024" actId="1076"/>
          <ac:spMkLst>
            <pc:docMk/>
            <pc:sldMk cId="1075793544" sldId="2147378706"/>
            <ac:spMk id="55" creationId="{3A150D87-5B38-9F6A-05D1-4FD2C26D10CF}"/>
          </ac:spMkLst>
        </pc:spChg>
        <pc:spChg chg="add mod">
          <ac:chgData name="内山 裕弥" userId="8d34b9d0-ec49-418d-b1de-019cf6b56da5" providerId="ADAL" clId="{EE417D81-9D62-44B5-9A36-43CC1B66E142}" dt="2024-07-19T11:08:10.903" v="9062" actId="14100"/>
          <ac:spMkLst>
            <pc:docMk/>
            <pc:sldMk cId="1075793544" sldId="2147378706"/>
            <ac:spMk id="56" creationId="{E7A256B4-413F-307C-5439-6870A4ACBCED}"/>
          </ac:spMkLst>
        </pc:spChg>
        <pc:spChg chg="add mod">
          <ac:chgData name="内山 裕弥" userId="8d34b9d0-ec49-418d-b1de-019cf6b56da5" providerId="ADAL" clId="{EE417D81-9D62-44B5-9A36-43CC1B66E142}" dt="2024-07-19T11:07:24.040" v="9024" actId="1076"/>
          <ac:spMkLst>
            <pc:docMk/>
            <pc:sldMk cId="1075793544" sldId="2147378706"/>
            <ac:spMk id="57" creationId="{7FADCBDB-26FF-BE72-8F14-BA953AD29C27}"/>
          </ac:spMkLst>
        </pc:spChg>
        <pc:spChg chg="add mod">
          <ac:chgData name="内山 裕弥" userId="8d34b9d0-ec49-418d-b1de-019cf6b56da5" providerId="ADAL" clId="{EE417D81-9D62-44B5-9A36-43CC1B66E142}" dt="2024-07-19T11:07:24.040" v="9024" actId="1076"/>
          <ac:spMkLst>
            <pc:docMk/>
            <pc:sldMk cId="1075793544" sldId="2147378706"/>
            <ac:spMk id="58" creationId="{C9BFE387-081A-F493-758E-0F6BD91A7288}"/>
          </ac:spMkLst>
        </pc:spChg>
        <pc:spChg chg="add mod">
          <ac:chgData name="内山 裕弥" userId="8d34b9d0-ec49-418d-b1de-019cf6b56da5" providerId="ADAL" clId="{EE417D81-9D62-44B5-9A36-43CC1B66E142}" dt="2024-07-19T11:08:10.903" v="9062" actId="14100"/>
          <ac:spMkLst>
            <pc:docMk/>
            <pc:sldMk cId="1075793544" sldId="2147378706"/>
            <ac:spMk id="59" creationId="{814DB610-F1B5-FED4-96F6-356A96984752}"/>
          </ac:spMkLst>
        </pc:spChg>
        <pc:spChg chg="add mod">
          <ac:chgData name="内山 裕弥" userId="8d34b9d0-ec49-418d-b1de-019cf6b56da5" providerId="ADAL" clId="{EE417D81-9D62-44B5-9A36-43CC1B66E142}" dt="2024-07-19T11:07:24.040" v="9024" actId="1076"/>
          <ac:spMkLst>
            <pc:docMk/>
            <pc:sldMk cId="1075793544" sldId="2147378706"/>
            <ac:spMk id="60" creationId="{3FBE18F8-DF94-8BCA-4933-9DC0688EE117}"/>
          </ac:spMkLst>
        </pc:spChg>
        <pc:spChg chg="add mod">
          <ac:chgData name="内山 裕弥" userId="8d34b9d0-ec49-418d-b1de-019cf6b56da5" providerId="ADAL" clId="{EE417D81-9D62-44B5-9A36-43CC1B66E142}" dt="2024-07-19T11:08:38.293" v="9124" actId="20577"/>
          <ac:spMkLst>
            <pc:docMk/>
            <pc:sldMk cId="1075793544" sldId="2147378706"/>
            <ac:spMk id="76" creationId="{B279D241-48ED-92D0-EE51-7E1DABF5D8E2}"/>
          </ac:spMkLst>
        </pc:spChg>
        <pc:grpChg chg="add mod">
          <ac:chgData name="内山 裕弥" userId="8d34b9d0-ec49-418d-b1de-019cf6b56da5" providerId="ADAL" clId="{EE417D81-9D62-44B5-9A36-43CC1B66E142}" dt="2024-07-19T11:07:24.040" v="9024" actId="1076"/>
          <ac:grpSpMkLst>
            <pc:docMk/>
            <pc:sldMk cId="1075793544" sldId="2147378706"/>
            <ac:grpSpMk id="2" creationId="{372A3CF7-5B7A-0B5D-9138-971927D27558}"/>
          </ac:grpSpMkLst>
        </pc:grpChg>
        <pc:cxnChg chg="mod">
          <ac:chgData name="内山 裕弥" userId="8d34b9d0-ec49-418d-b1de-019cf6b56da5" providerId="ADAL" clId="{EE417D81-9D62-44B5-9A36-43CC1B66E142}" dt="2024-07-19T11:07:24.040" v="9024" actId="1076"/>
          <ac:cxnSpMkLst>
            <pc:docMk/>
            <pc:sldMk cId="1075793544" sldId="2147378706"/>
            <ac:cxnSpMk id="7" creationId="{21A3E467-6F88-7859-37D3-00A944DAABE1}"/>
          </ac:cxnSpMkLst>
        </pc:cxnChg>
        <pc:cxnChg chg="add mod">
          <ac:chgData name="内山 裕弥" userId="8d34b9d0-ec49-418d-b1de-019cf6b56da5" providerId="ADAL" clId="{EE417D81-9D62-44B5-9A36-43CC1B66E142}" dt="2024-07-19T11:08:23.418" v="9065" actId="14100"/>
          <ac:cxnSpMkLst>
            <pc:docMk/>
            <pc:sldMk cId="1075793544" sldId="2147378706"/>
            <ac:cxnSpMk id="17" creationId="{B33F1110-77B4-AF22-55D7-F4851EF459EE}"/>
          </ac:cxnSpMkLst>
        </pc:cxnChg>
        <pc:cxnChg chg="add mod">
          <ac:chgData name="内山 裕弥" userId="8d34b9d0-ec49-418d-b1de-019cf6b56da5" providerId="ADAL" clId="{EE417D81-9D62-44B5-9A36-43CC1B66E142}" dt="2024-07-19T11:08:23.418" v="9065" actId="14100"/>
          <ac:cxnSpMkLst>
            <pc:docMk/>
            <pc:sldMk cId="1075793544" sldId="2147378706"/>
            <ac:cxnSpMk id="18" creationId="{891B5930-A38E-A0C5-BE51-42817003E8A5}"/>
          </ac:cxnSpMkLst>
        </pc:cxnChg>
        <pc:cxnChg chg="add mod">
          <ac:chgData name="内山 裕弥" userId="8d34b9d0-ec49-418d-b1de-019cf6b56da5" providerId="ADAL" clId="{EE417D81-9D62-44B5-9A36-43CC1B66E142}" dt="2024-07-19T11:08:23.418" v="9065" actId="14100"/>
          <ac:cxnSpMkLst>
            <pc:docMk/>
            <pc:sldMk cId="1075793544" sldId="2147378706"/>
            <ac:cxnSpMk id="19" creationId="{A844BD0C-0A40-51E8-A09A-D30427306A66}"/>
          </ac:cxnSpMkLst>
        </pc:cxnChg>
        <pc:cxnChg chg="add mod">
          <ac:chgData name="内山 裕弥" userId="8d34b9d0-ec49-418d-b1de-019cf6b56da5" providerId="ADAL" clId="{EE417D81-9D62-44B5-9A36-43CC1B66E142}" dt="2024-07-19T11:08:23.418" v="9065" actId="14100"/>
          <ac:cxnSpMkLst>
            <pc:docMk/>
            <pc:sldMk cId="1075793544" sldId="2147378706"/>
            <ac:cxnSpMk id="32" creationId="{E759765E-E000-B6F8-7FD9-0B57C3A2ABBD}"/>
          </ac:cxnSpMkLst>
        </pc:cxnChg>
        <pc:cxnChg chg="add mod">
          <ac:chgData name="内山 裕弥" userId="8d34b9d0-ec49-418d-b1de-019cf6b56da5" providerId="ADAL" clId="{EE417D81-9D62-44B5-9A36-43CC1B66E142}" dt="2024-07-19T11:08:23.418" v="9065" actId="14100"/>
          <ac:cxnSpMkLst>
            <pc:docMk/>
            <pc:sldMk cId="1075793544" sldId="2147378706"/>
            <ac:cxnSpMk id="35" creationId="{40F97130-3434-E197-FDD8-0A50B799631A}"/>
          </ac:cxnSpMkLst>
        </pc:cxnChg>
        <pc:cxnChg chg="add mod">
          <ac:chgData name="内山 裕弥" userId="8d34b9d0-ec49-418d-b1de-019cf6b56da5" providerId="ADAL" clId="{EE417D81-9D62-44B5-9A36-43CC1B66E142}" dt="2024-07-19T11:08:23.418" v="9065" actId="14100"/>
          <ac:cxnSpMkLst>
            <pc:docMk/>
            <pc:sldMk cId="1075793544" sldId="2147378706"/>
            <ac:cxnSpMk id="42" creationId="{9B4560C3-E523-8803-F24F-44C0F6BB8B8F}"/>
          </ac:cxnSpMkLst>
        </pc:cxnChg>
        <pc:cxnChg chg="add mod">
          <ac:chgData name="内山 裕弥" userId="8d34b9d0-ec49-418d-b1de-019cf6b56da5" providerId="ADAL" clId="{EE417D81-9D62-44B5-9A36-43CC1B66E142}" dt="2024-07-19T11:08:10.903" v="9062" actId="14100"/>
          <ac:cxnSpMkLst>
            <pc:docMk/>
            <pc:sldMk cId="1075793544" sldId="2147378706"/>
            <ac:cxnSpMk id="43" creationId="{C09F7C0D-715C-1DE6-CA70-0114A80EE9E6}"/>
          </ac:cxnSpMkLst>
        </pc:cxnChg>
        <pc:cxnChg chg="add mod">
          <ac:chgData name="内山 裕弥" userId="8d34b9d0-ec49-418d-b1de-019cf6b56da5" providerId="ADAL" clId="{EE417D81-9D62-44B5-9A36-43CC1B66E142}" dt="2024-07-19T11:08:10.903" v="9062" actId="14100"/>
          <ac:cxnSpMkLst>
            <pc:docMk/>
            <pc:sldMk cId="1075793544" sldId="2147378706"/>
            <ac:cxnSpMk id="50" creationId="{70D243EA-17DF-865D-55F4-DDB86E3FC409}"/>
          </ac:cxnSpMkLst>
        </pc:cxnChg>
        <pc:cxnChg chg="add mod">
          <ac:chgData name="内山 裕弥" userId="8d34b9d0-ec49-418d-b1de-019cf6b56da5" providerId="ADAL" clId="{EE417D81-9D62-44B5-9A36-43CC1B66E142}" dt="2024-07-19T11:08:10.903" v="9062" actId="14100"/>
          <ac:cxnSpMkLst>
            <pc:docMk/>
            <pc:sldMk cId="1075793544" sldId="2147378706"/>
            <ac:cxnSpMk id="51" creationId="{89F55B38-D3AD-5356-0792-1365F2725CD9}"/>
          </ac:cxnSpMkLst>
        </pc:cxnChg>
        <pc:cxnChg chg="add mod">
          <ac:chgData name="内山 裕弥" userId="8d34b9d0-ec49-418d-b1de-019cf6b56da5" providerId="ADAL" clId="{EE417D81-9D62-44B5-9A36-43CC1B66E142}" dt="2024-07-19T11:08:23.418" v="9065" actId="14100"/>
          <ac:cxnSpMkLst>
            <pc:docMk/>
            <pc:sldMk cId="1075793544" sldId="2147378706"/>
            <ac:cxnSpMk id="52" creationId="{66B9DD1B-C64B-4F75-5CF8-B98CD9A23B09}"/>
          </ac:cxnSpMkLst>
        </pc:cxnChg>
        <pc:cxnChg chg="add mod">
          <ac:chgData name="内山 裕弥" userId="8d34b9d0-ec49-418d-b1de-019cf6b56da5" providerId="ADAL" clId="{EE417D81-9D62-44B5-9A36-43CC1B66E142}" dt="2024-07-19T11:08:10.903" v="9062" actId="14100"/>
          <ac:cxnSpMkLst>
            <pc:docMk/>
            <pc:sldMk cId="1075793544" sldId="2147378706"/>
            <ac:cxnSpMk id="53" creationId="{BE418135-FB4D-DCAA-9BF1-13BC0FEA9AAB}"/>
          </ac:cxnSpMkLst>
        </pc:cxnChg>
        <pc:cxnChg chg="add mod">
          <ac:chgData name="内山 裕弥" userId="8d34b9d0-ec49-418d-b1de-019cf6b56da5" providerId="ADAL" clId="{EE417D81-9D62-44B5-9A36-43CC1B66E142}" dt="2024-07-19T11:08:10.903" v="9062" actId="14100"/>
          <ac:cxnSpMkLst>
            <pc:docMk/>
            <pc:sldMk cId="1075793544" sldId="2147378706"/>
            <ac:cxnSpMk id="61" creationId="{8294B53B-40A2-5BE4-9CB0-796238DAF687}"/>
          </ac:cxnSpMkLst>
        </pc:cxnChg>
        <pc:cxnChg chg="add mod">
          <ac:chgData name="内山 裕弥" userId="8d34b9d0-ec49-418d-b1de-019cf6b56da5" providerId="ADAL" clId="{EE417D81-9D62-44B5-9A36-43CC1B66E142}" dt="2024-07-19T11:08:10.903" v="9062" actId="14100"/>
          <ac:cxnSpMkLst>
            <pc:docMk/>
            <pc:sldMk cId="1075793544" sldId="2147378706"/>
            <ac:cxnSpMk id="62" creationId="{535A823C-A292-AD77-1929-6FC5127AA2E1}"/>
          </ac:cxnSpMkLst>
        </pc:cxnChg>
      </pc:sldChg>
      <pc:sldChg chg="addSp delSp modSp mod">
        <pc:chgData name="内山 裕弥" userId="8d34b9d0-ec49-418d-b1de-019cf6b56da5" providerId="ADAL" clId="{EE417D81-9D62-44B5-9A36-43CC1B66E142}" dt="2024-07-19T11:11:15.672" v="9405" actId="207"/>
        <pc:sldMkLst>
          <pc:docMk/>
          <pc:sldMk cId="1215250369" sldId="2147378707"/>
        </pc:sldMkLst>
        <pc:spChg chg="del">
          <ac:chgData name="内山 裕弥" userId="8d34b9d0-ec49-418d-b1de-019cf6b56da5" providerId="ADAL" clId="{EE417D81-9D62-44B5-9A36-43CC1B66E142}" dt="2024-07-19T11:09:58.133" v="9177" actId="478"/>
          <ac:spMkLst>
            <pc:docMk/>
            <pc:sldMk cId="1215250369" sldId="2147378707"/>
            <ac:spMk id="6" creationId="{EAC0E584-2ABB-4B91-5A39-F104C91B44D5}"/>
          </ac:spMkLst>
        </pc:spChg>
        <pc:spChg chg="add mod">
          <ac:chgData name="内山 裕弥" userId="8d34b9d0-ec49-418d-b1de-019cf6b56da5" providerId="ADAL" clId="{EE417D81-9D62-44B5-9A36-43CC1B66E142}" dt="2024-07-19T11:11:04.110" v="9404" actId="1076"/>
          <ac:spMkLst>
            <pc:docMk/>
            <pc:sldMk cId="1215250369" sldId="2147378707"/>
            <ac:spMk id="7" creationId="{2918B46C-8769-3057-DF46-3540854E5299}"/>
          </ac:spMkLst>
        </pc:spChg>
        <pc:graphicFrameChg chg="add mod modGraphic">
          <ac:chgData name="内山 裕弥" userId="8d34b9d0-ec49-418d-b1de-019cf6b56da5" providerId="ADAL" clId="{EE417D81-9D62-44B5-9A36-43CC1B66E142}" dt="2024-07-19T11:11:15.672" v="9405" actId="207"/>
          <ac:graphicFrameMkLst>
            <pc:docMk/>
            <pc:sldMk cId="1215250369" sldId="2147378707"/>
            <ac:graphicFrameMk id="2" creationId="{F9E0DDCD-6644-BE19-62E5-D3AB6A2D7C99}"/>
          </ac:graphicFrameMkLst>
        </pc:graphicFrameChg>
      </pc:sldChg>
      <pc:sldChg chg="addSp delSp modSp add mod">
        <pc:chgData name="内山 裕弥" userId="8d34b9d0-ec49-418d-b1de-019cf6b56da5" providerId="ADAL" clId="{EE417D81-9D62-44B5-9A36-43CC1B66E142}" dt="2024-07-19T04:22:45.294" v="1300" actId="20577"/>
        <pc:sldMkLst>
          <pc:docMk/>
          <pc:sldMk cId="3685116316" sldId="2147378709"/>
        </pc:sldMkLst>
        <pc:spChg chg="del">
          <ac:chgData name="内山 裕弥" userId="8d34b9d0-ec49-418d-b1de-019cf6b56da5" providerId="ADAL" clId="{EE417D81-9D62-44B5-9A36-43CC1B66E142}" dt="2024-07-19T04:20:55.364" v="944" actId="21"/>
          <ac:spMkLst>
            <pc:docMk/>
            <pc:sldMk cId="3685116316" sldId="2147378709"/>
            <ac:spMk id="6" creationId="{A9577F56-3CCF-E475-2E51-B70DEBE9BC60}"/>
          </ac:spMkLst>
        </pc:spChg>
        <pc:spChg chg="mod">
          <ac:chgData name="内山 裕弥" userId="8d34b9d0-ec49-418d-b1de-019cf6b56da5" providerId="ADAL" clId="{EE417D81-9D62-44B5-9A36-43CC1B66E142}" dt="2024-07-19T04:20:46.492" v="941" actId="20577"/>
          <ac:spMkLst>
            <pc:docMk/>
            <pc:sldMk cId="3685116316" sldId="2147378709"/>
            <ac:spMk id="9" creationId="{D22A0A06-D5A8-4A1A-B66F-2A8EDBD644F1}"/>
          </ac:spMkLst>
        </pc:spChg>
        <pc:spChg chg="del">
          <ac:chgData name="内山 裕弥" userId="8d34b9d0-ec49-418d-b1de-019cf6b56da5" providerId="ADAL" clId="{EE417D81-9D62-44B5-9A36-43CC1B66E142}" dt="2024-07-19T04:20:52.589" v="942" actId="21"/>
          <ac:spMkLst>
            <pc:docMk/>
            <pc:sldMk cId="3685116316" sldId="2147378709"/>
            <ac:spMk id="14" creationId="{BA7FA382-9723-883E-C088-B51E896148CC}"/>
          </ac:spMkLst>
        </pc:spChg>
        <pc:spChg chg="del">
          <ac:chgData name="内山 裕弥" userId="8d34b9d0-ec49-418d-b1de-019cf6b56da5" providerId="ADAL" clId="{EE417D81-9D62-44B5-9A36-43CC1B66E142}" dt="2024-07-19T04:20:54.357" v="943" actId="21"/>
          <ac:spMkLst>
            <pc:docMk/>
            <pc:sldMk cId="3685116316" sldId="2147378709"/>
            <ac:spMk id="15" creationId="{0C0D5913-6E2D-E5DB-60D1-B3AF669AED14}"/>
          </ac:spMkLst>
        </pc:spChg>
        <pc:spChg chg="del">
          <ac:chgData name="内山 裕弥" userId="8d34b9d0-ec49-418d-b1de-019cf6b56da5" providerId="ADAL" clId="{EE417D81-9D62-44B5-9A36-43CC1B66E142}" dt="2024-07-19T04:20:52.589" v="942" actId="21"/>
          <ac:spMkLst>
            <pc:docMk/>
            <pc:sldMk cId="3685116316" sldId="2147378709"/>
            <ac:spMk id="16" creationId="{E2145D0B-66EB-0BA6-624D-9BC1846E3715}"/>
          </ac:spMkLst>
        </pc:spChg>
        <pc:spChg chg="add mod">
          <ac:chgData name="内山 裕弥" userId="8d34b9d0-ec49-418d-b1de-019cf6b56da5" providerId="ADAL" clId="{EE417D81-9D62-44B5-9A36-43CC1B66E142}" dt="2024-07-19T04:21:13.970" v="959" actId="1076"/>
          <ac:spMkLst>
            <pc:docMk/>
            <pc:sldMk cId="3685116316" sldId="2147378709"/>
            <ac:spMk id="17" creationId="{53F10FF5-7C3A-04E7-4D0E-3EC2A9EB89FC}"/>
          </ac:spMkLst>
        </pc:spChg>
        <pc:spChg chg="add mod">
          <ac:chgData name="内山 裕弥" userId="8d34b9d0-ec49-418d-b1de-019cf6b56da5" providerId="ADAL" clId="{EE417D81-9D62-44B5-9A36-43CC1B66E142}" dt="2024-07-19T04:21:43.619" v="1002" actId="20577"/>
          <ac:spMkLst>
            <pc:docMk/>
            <pc:sldMk cId="3685116316" sldId="2147378709"/>
            <ac:spMk id="18" creationId="{E9664A3C-1A6D-1DEA-5030-08206BBAF59D}"/>
          </ac:spMkLst>
        </pc:spChg>
        <pc:spChg chg="add mod">
          <ac:chgData name="内山 裕弥" userId="8d34b9d0-ec49-418d-b1de-019cf6b56da5" providerId="ADAL" clId="{EE417D81-9D62-44B5-9A36-43CC1B66E142}" dt="2024-07-19T04:21:40.379" v="999" actId="20577"/>
          <ac:spMkLst>
            <pc:docMk/>
            <pc:sldMk cId="3685116316" sldId="2147378709"/>
            <ac:spMk id="20" creationId="{A1D40746-BF49-AC90-B951-2E85999D00C9}"/>
          </ac:spMkLst>
        </pc:spChg>
        <pc:spChg chg="add mod">
          <ac:chgData name="内山 裕弥" userId="8d34b9d0-ec49-418d-b1de-019cf6b56da5" providerId="ADAL" clId="{EE417D81-9D62-44B5-9A36-43CC1B66E142}" dt="2024-07-19T04:21:16.295" v="965"/>
          <ac:spMkLst>
            <pc:docMk/>
            <pc:sldMk cId="3685116316" sldId="2147378709"/>
            <ac:spMk id="22" creationId="{E3A53034-9097-A2B0-BA00-9805C113B3C4}"/>
          </ac:spMkLst>
        </pc:spChg>
        <pc:spChg chg="add mod">
          <ac:chgData name="内山 裕弥" userId="8d34b9d0-ec49-418d-b1de-019cf6b56da5" providerId="ADAL" clId="{EE417D81-9D62-44B5-9A36-43CC1B66E142}" dt="2024-07-19T04:21:19.536" v="971"/>
          <ac:spMkLst>
            <pc:docMk/>
            <pc:sldMk cId="3685116316" sldId="2147378709"/>
            <ac:spMk id="23" creationId="{548B53C1-9515-859C-4FF6-ED37AFEFE4B3}"/>
          </ac:spMkLst>
        </pc:spChg>
        <pc:spChg chg="add mod">
          <ac:chgData name="内山 裕弥" userId="8d34b9d0-ec49-418d-b1de-019cf6b56da5" providerId="ADAL" clId="{EE417D81-9D62-44B5-9A36-43CC1B66E142}" dt="2024-07-19T04:21:11.032" v="951"/>
          <ac:spMkLst>
            <pc:docMk/>
            <pc:sldMk cId="3685116316" sldId="2147378709"/>
            <ac:spMk id="25" creationId="{B623064F-1224-9D0A-91B9-574A09BD6B31}"/>
          </ac:spMkLst>
        </pc:spChg>
        <pc:spChg chg="add mod">
          <ac:chgData name="内山 裕弥" userId="8d34b9d0-ec49-418d-b1de-019cf6b56da5" providerId="ADAL" clId="{EE417D81-9D62-44B5-9A36-43CC1B66E142}" dt="2024-07-19T04:21:25.010" v="972" actId="20577"/>
          <ac:spMkLst>
            <pc:docMk/>
            <pc:sldMk cId="3685116316" sldId="2147378709"/>
            <ac:spMk id="28" creationId="{90FD0E77-3888-581E-76F2-D03B3D6A162F}"/>
          </ac:spMkLst>
        </pc:spChg>
        <pc:spChg chg="add mod">
          <ac:chgData name="内山 裕弥" userId="8d34b9d0-ec49-418d-b1de-019cf6b56da5" providerId="ADAL" clId="{EE417D81-9D62-44B5-9A36-43CC1B66E142}" dt="2024-07-19T04:21:26.720" v="973"/>
          <ac:spMkLst>
            <pc:docMk/>
            <pc:sldMk cId="3685116316" sldId="2147378709"/>
            <ac:spMk id="29" creationId="{51548927-EDC2-8320-9763-1100DEEB5C3D}"/>
          </ac:spMkLst>
        </pc:spChg>
        <pc:spChg chg="add mod">
          <ac:chgData name="内山 裕弥" userId="8d34b9d0-ec49-418d-b1de-019cf6b56da5" providerId="ADAL" clId="{EE417D81-9D62-44B5-9A36-43CC1B66E142}" dt="2024-07-19T04:21:29.714" v="976"/>
          <ac:spMkLst>
            <pc:docMk/>
            <pc:sldMk cId="3685116316" sldId="2147378709"/>
            <ac:spMk id="30" creationId="{ABA7E6E7-22B8-6897-CAD1-5BB1F7243A11}"/>
          </ac:spMkLst>
        </pc:spChg>
        <pc:spChg chg="add mod">
          <ac:chgData name="内山 裕弥" userId="8d34b9d0-ec49-418d-b1de-019cf6b56da5" providerId="ADAL" clId="{EE417D81-9D62-44B5-9A36-43CC1B66E142}" dt="2024-07-19T04:21:30.424" v="977"/>
          <ac:spMkLst>
            <pc:docMk/>
            <pc:sldMk cId="3685116316" sldId="2147378709"/>
            <ac:spMk id="31" creationId="{97AC2652-6A11-4525-3831-C5116BDDAFD4}"/>
          </ac:spMkLst>
        </pc:spChg>
        <pc:spChg chg="add mod">
          <ac:chgData name="内山 裕弥" userId="8d34b9d0-ec49-418d-b1de-019cf6b56da5" providerId="ADAL" clId="{EE417D81-9D62-44B5-9A36-43CC1B66E142}" dt="2024-07-19T04:21:28.023" v="974"/>
          <ac:spMkLst>
            <pc:docMk/>
            <pc:sldMk cId="3685116316" sldId="2147378709"/>
            <ac:spMk id="32" creationId="{226A0974-299A-DA5C-F13B-FA16A7D473D9}"/>
          </ac:spMkLst>
        </pc:spChg>
        <pc:spChg chg="add mod">
          <ac:chgData name="内山 裕弥" userId="8d34b9d0-ec49-418d-b1de-019cf6b56da5" providerId="ADAL" clId="{EE417D81-9D62-44B5-9A36-43CC1B66E142}" dt="2024-07-19T04:21:31.038" v="978"/>
          <ac:spMkLst>
            <pc:docMk/>
            <pc:sldMk cId="3685116316" sldId="2147378709"/>
            <ac:spMk id="33" creationId="{C9FC6D16-CAD4-5B3E-F8B5-81D2A2D8CDCA}"/>
          </ac:spMkLst>
        </pc:spChg>
        <pc:spChg chg="add mod">
          <ac:chgData name="内山 裕弥" userId="8d34b9d0-ec49-418d-b1de-019cf6b56da5" providerId="ADAL" clId="{EE417D81-9D62-44B5-9A36-43CC1B66E142}" dt="2024-07-19T04:21:28.858" v="975"/>
          <ac:spMkLst>
            <pc:docMk/>
            <pc:sldMk cId="3685116316" sldId="2147378709"/>
            <ac:spMk id="34" creationId="{C89FC4AA-2731-E92F-D907-2D16595912E8}"/>
          </ac:spMkLst>
        </pc:spChg>
        <pc:spChg chg="add mod">
          <ac:chgData name="内山 裕弥" userId="8d34b9d0-ec49-418d-b1de-019cf6b56da5" providerId="ADAL" clId="{EE417D81-9D62-44B5-9A36-43CC1B66E142}" dt="2024-07-19T04:21:31.695" v="979"/>
          <ac:spMkLst>
            <pc:docMk/>
            <pc:sldMk cId="3685116316" sldId="2147378709"/>
            <ac:spMk id="35" creationId="{708AB7D6-2CDF-65E4-DFCF-96EFAC6FF818}"/>
          </ac:spMkLst>
        </pc:spChg>
        <pc:spChg chg="add mod">
          <ac:chgData name="内山 裕弥" userId="8d34b9d0-ec49-418d-b1de-019cf6b56da5" providerId="ADAL" clId="{EE417D81-9D62-44B5-9A36-43CC1B66E142}" dt="2024-07-19T04:22:45.294" v="1300" actId="20577"/>
          <ac:spMkLst>
            <pc:docMk/>
            <pc:sldMk cId="3685116316" sldId="2147378709"/>
            <ac:spMk id="36" creationId="{833B7B3B-2AA4-02F5-9605-1CA648B26A9E}"/>
          </ac:spMkLst>
        </pc:spChg>
        <pc:grpChg chg="del">
          <ac:chgData name="内山 裕弥" userId="8d34b9d0-ec49-418d-b1de-019cf6b56da5" providerId="ADAL" clId="{EE417D81-9D62-44B5-9A36-43CC1B66E142}" dt="2024-07-19T04:20:52.589" v="942" actId="21"/>
          <ac:grpSpMkLst>
            <pc:docMk/>
            <pc:sldMk cId="3685116316" sldId="2147378709"/>
            <ac:grpSpMk id="3" creationId="{EBC23DA4-F36B-555D-CA5C-39F94E08823F}"/>
          </ac:grpSpMkLst>
        </pc:grpChg>
        <pc:cxnChg chg="add mod">
          <ac:chgData name="内山 裕弥" userId="8d34b9d0-ec49-418d-b1de-019cf6b56da5" providerId="ADAL" clId="{EE417D81-9D62-44B5-9A36-43CC1B66E142}" dt="2024-07-19T04:21:04.222" v="945"/>
          <ac:cxnSpMkLst>
            <pc:docMk/>
            <pc:sldMk cId="3685116316" sldId="2147378709"/>
            <ac:cxnSpMk id="19" creationId="{988F5D47-E5D3-5BF3-75A0-F784D65E7675}"/>
          </ac:cxnSpMkLst>
        </pc:cxnChg>
        <pc:cxnChg chg="add mod">
          <ac:chgData name="内山 裕弥" userId="8d34b9d0-ec49-418d-b1de-019cf6b56da5" providerId="ADAL" clId="{EE417D81-9D62-44B5-9A36-43CC1B66E142}" dt="2024-07-19T04:21:04.222" v="945"/>
          <ac:cxnSpMkLst>
            <pc:docMk/>
            <pc:sldMk cId="3685116316" sldId="2147378709"/>
            <ac:cxnSpMk id="21" creationId="{2C5A1D27-39E7-7A74-E0C6-11903FAA5D16}"/>
          </ac:cxnSpMkLst>
        </pc:cxnChg>
        <pc:cxnChg chg="add mod">
          <ac:chgData name="内山 裕弥" userId="8d34b9d0-ec49-418d-b1de-019cf6b56da5" providerId="ADAL" clId="{EE417D81-9D62-44B5-9A36-43CC1B66E142}" dt="2024-07-19T04:21:04.222" v="945"/>
          <ac:cxnSpMkLst>
            <pc:docMk/>
            <pc:sldMk cId="3685116316" sldId="2147378709"/>
            <ac:cxnSpMk id="24" creationId="{67CF960F-BF89-4129-340B-68AB5FDE8755}"/>
          </ac:cxnSpMkLst>
        </pc:cxnChg>
        <pc:cxnChg chg="add mod">
          <ac:chgData name="内山 裕弥" userId="8d34b9d0-ec49-418d-b1de-019cf6b56da5" providerId="ADAL" clId="{EE417D81-9D62-44B5-9A36-43CC1B66E142}" dt="2024-07-19T04:21:04.222" v="945"/>
          <ac:cxnSpMkLst>
            <pc:docMk/>
            <pc:sldMk cId="3685116316" sldId="2147378709"/>
            <ac:cxnSpMk id="26" creationId="{D275D890-34D1-720A-5568-058C5CE60E89}"/>
          </ac:cxnSpMkLst>
        </pc:cxnChg>
        <pc:cxnChg chg="add mod">
          <ac:chgData name="内山 裕弥" userId="8d34b9d0-ec49-418d-b1de-019cf6b56da5" providerId="ADAL" clId="{EE417D81-9D62-44B5-9A36-43CC1B66E142}" dt="2024-07-19T04:21:04.222" v="945"/>
          <ac:cxnSpMkLst>
            <pc:docMk/>
            <pc:sldMk cId="3685116316" sldId="2147378709"/>
            <ac:cxnSpMk id="27" creationId="{E7CB3556-2936-30A4-AEC6-65D0A1738CDB}"/>
          </ac:cxnSpMkLst>
        </pc:cxnChg>
      </pc:sldChg>
      <pc:sldChg chg="addSp delSp modSp add mod">
        <pc:chgData name="内山 裕弥" userId="8d34b9d0-ec49-418d-b1de-019cf6b56da5" providerId="ADAL" clId="{EE417D81-9D62-44B5-9A36-43CC1B66E142}" dt="2024-07-19T04:25:59.013" v="1817" actId="20577"/>
        <pc:sldMkLst>
          <pc:docMk/>
          <pc:sldMk cId="2249235288" sldId="2147378710"/>
        </pc:sldMkLst>
        <pc:spChg chg="mod">
          <ac:chgData name="内山 裕弥" userId="8d34b9d0-ec49-418d-b1de-019cf6b56da5" providerId="ADAL" clId="{EE417D81-9D62-44B5-9A36-43CC1B66E142}" dt="2024-07-19T04:23:10.055" v="1303"/>
          <ac:spMkLst>
            <pc:docMk/>
            <pc:sldMk cId="2249235288" sldId="2147378710"/>
            <ac:spMk id="7" creationId="{081FA0EF-B0D7-A6B9-D177-CBA186431769}"/>
          </ac:spMkLst>
        </pc:spChg>
        <pc:spChg chg="mod">
          <ac:chgData name="内山 裕弥" userId="8d34b9d0-ec49-418d-b1de-019cf6b56da5" providerId="ADAL" clId="{EE417D81-9D62-44B5-9A36-43CC1B66E142}" dt="2024-07-19T04:23:29.758" v="1369" actId="20577"/>
          <ac:spMkLst>
            <pc:docMk/>
            <pc:sldMk cId="2249235288" sldId="2147378710"/>
            <ac:spMk id="9" creationId="{D22A0A06-D5A8-4A1A-B66F-2A8EDBD644F1}"/>
          </ac:spMkLst>
        </pc:spChg>
        <pc:spChg chg="mod">
          <ac:chgData name="内山 裕弥" userId="8d34b9d0-ec49-418d-b1de-019cf6b56da5" providerId="ADAL" clId="{EE417D81-9D62-44B5-9A36-43CC1B66E142}" dt="2024-07-19T04:23:10.055" v="1303"/>
          <ac:spMkLst>
            <pc:docMk/>
            <pc:sldMk cId="2249235288" sldId="2147378710"/>
            <ac:spMk id="10" creationId="{1A383005-B1A5-AD52-BAD8-1851206F59CA}"/>
          </ac:spMkLst>
        </pc:spChg>
        <pc:spChg chg="add mod">
          <ac:chgData name="内山 裕弥" userId="8d34b9d0-ec49-418d-b1de-019cf6b56da5" providerId="ADAL" clId="{EE417D81-9D62-44B5-9A36-43CC1B66E142}" dt="2024-07-19T04:23:45.570" v="1386"/>
          <ac:spMkLst>
            <pc:docMk/>
            <pc:sldMk cId="2249235288" sldId="2147378710"/>
            <ac:spMk id="13" creationId="{EDAD2185-EC0D-868E-795C-E7F2FB4ACC64}"/>
          </ac:spMkLst>
        </pc:spChg>
        <pc:spChg chg="add mod">
          <ac:chgData name="内山 裕弥" userId="8d34b9d0-ec49-418d-b1de-019cf6b56da5" providerId="ADAL" clId="{EE417D81-9D62-44B5-9A36-43CC1B66E142}" dt="2024-07-19T04:23:48.079" v="1387"/>
          <ac:spMkLst>
            <pc:docMk/>
            <pc:sldMk cId="2249235288" sldId="2147378710"/>
            <ac:spMk id="14" creationId="{EB154E72-D468-E337-5176-249A512E7AD4}"/>
          </ac:spMkLst>
        </pc:spChg>
        <pc:spChg chg="add mod">
          <ac:chgData name="内山 裕弥" userId="8d34b9d0-ec49-418d-b1de-019cf6b56da5" providerId="ADAL" clId="{EE417D81-9D62-44B5-9A36-43CC1B66E142}" dt="2024-07-19T04:25:59.013" v="1817" actId="20577"/>
          <ac:spMkLst>
            <pc:docMk/>
            <pc:sldMk cId="2249235288" sldId="2147378710"/>
            <ac:spMk id="15" creationId="{023910BE-64AD-C23C-E1DF-2E35F066FA1D}"/>
          </ac:spMkLst>
        </pc:spChg>
        <pc:spChg chg="add del mod">
          <ac:chgData name="内山 裕弥" userId="8d34b9d0-ec49-418d-b1de-019cf6b56da5" providerId="ADAL" clId="{EE417D81-9D62-44B5-9A36-43CC1B66E142}" dt="2024-07-19T04:25:00.601" v="1667" actId="21"/>
          <ac:spMkLst>
            <pc:docMk/>
            <pc:sldMk cId="2249235288" sldId="2147378710"/>
            <ac:spMk id="16" creationId="{8F42B5C1-BCA6-4E92-465B-2BE5747EB03F}"/>
          </ac:spMkLst>
        </pc:spChg>
        <pc:spChg chg="del">
          <ac:chgData name="内山 裕弥" userId="8d34b9d0-ec49-418d-b1de-019cf6b56da5" providerId="ADAL" clId="{EE417D81-9D62-44B5-9A36-43CC1B66E142}" dt="2024-07-19T04:23:03.185" v="1302" actId="21"/>
          <ac:spMkLst>
            <pc:docMk/>
            <pc:sldMk cId="2249235288" sldId="2147378710"/>
            <ac:spMk id="17" creationId="{53F10FF5-7C3A-04E7-4D0E-3EC2A9EB89FC}"/>
          </ac:spMkLst>
        </pc:spChg>
        <pc:spChg chg="del">
          <ac:chgData name="内山 裕弥" userId="8d34b9d0-ec49-418d-b1de-019cf6b56da5" providerId="ADAL" clId="{EE417D81-9D62-44B5-9A36-43CC1B66E142}" dt="2024-07-19T04:23:03.185" v="1302" actId="21"/>
          <ac:spMkLst>
            <pc:docMk/>
            <pc:sldMk cId="2249235288" sldId="2147378710"/>
            <ac:spMk id="18" creationId="{E9664A3C-1A6D-1DEA-5030-08206BBAF59D}"/>
          </ac:spMkLst>
        </pc:spChg>
        <pc:spChg chg="del">
          <ac:chgData name="内山 裕弥" userId="8d34b9d0-ec49-418d-b1de-019cf6b56da5" providerId="ADAL" clId="{EE417D81-9D62-44B5-9A36-43CC1B66E142}" dt="2024-07-19T04:23:03.185" v="1302" actId="21"/>
          <ac:spMkLst>
            <pc:docMk/>
            <pc:sldMk cId="2249235288" sldId="2147378710"/>
            <ac:spMk id="20" creationId="{A1D40746-BF49-AC90-B951-2E85999D00C9}"/>
          </ac:spMkLst>
        </pc:spChg>
        <pc:spChg chg="del">
          <ac:chgData name="内山 裕弥" userId="8d34b9d0-ec49-418d-b1de-019cf6b56da5" providerId="ADAL" clId="{EE417D81-9D62-44B5-9A36-43CC1B66E142}" dt="2024-07-19T04:23:03.185" v="1302" actId="21"/>
          <ac:spMkLst>
            <pc:docMk/>
            <pc:sldMk cId="2249235288" sldId="2147378710"/>
            <ac:spMk id="22" creationId="{E3A53034-9097-A2B0-BA00-9805C113B3C4}"/>
          </ac:spMkLst>
        </pc:spChg>
        <pc:spChg chg="del">
          <ac:chgData name="内山 裕弥" userId="8d34b9d0-ec49-418d-b1de-019cf6b56da5" providerId="ADAL" clId="{EE417D81-9D62-44B5-9A36-43CC1B66E142}" dt="2024-07-19T04:23:03.185" v="1302" actId="21"/>
          <ac:spMkLst>
            <pc:docMk/>
            <pc:sldMk cId="2249235288" sldId="2147378710"/>
            <ac:spMk id="23" creationId="{548B53C1-9515-859C-4FF6-ED37AFEFE4B3}"/>
          </ac:spMkLst>
        </pc:spChg>
        <pc:spChg chg="del">
          <ac:chgData name="内山 裕弥" userId="8d34b9d0-ec49-418d-b1de-019cf6b56da5" providerId="ADAL" clId="{EE417D81-9D62-44B5-9A36-43CC1B66E142}" dt="2024-07-19T04:23:03.185" v="1302" actId="21"/>
          <ac:spMkLst>
            <pc:docMk/>
            <pc:sldMk cId="2249235288" sldId="2147378710"/>
            <ac:spMk id="25" creationId="{B623064F-1224-9D0A-91B9-574A09BD6B31}"/>
          </ac:spMkLst>
        </pc:spChg>
        <pc:spChg chg="del">
          <ac:chgData name="内山 裕弥" userId="8d34b9d0-ec49-418d-b1de-019cf6b56da5" providerId="ADAL" clId="{EE417D81-9D62-44B5-9A36-43CC1B66E142}" dt="2024-07-19T04:23:03.185" v="1302" actId="21"/>
          <ac:spMkLst>
            <pc:docMk/>
            <pc:sldMk cId="2249235288" sldId="2147378710"/>
            <ac:spMk id="28" creationId="{90FD0E77-3888-581E-76F2-D03B3D6A162F}"/>
          </ac:spMkLst>
        </pc:spChg>
        <pc:spChg chg="del">
          <ac:chgData name="内山 裕弥" userId="8d34b9d0-ec49-418d-b1de-019cf6b56da5" providerId="ADAL" clId="{EE417D81-9D62-44B5-9A36-43CC1B66E142}" dt="2024-07-19T04:23:03.185" v="1302" actId="21"/>
          <ac:spMkLst>
            <pc:docMk/>
            <pc:sldMk cId="2249235288" sldId="2147378710"/>
            <ac:spMk id="29" creationId="{51548927-EDC2-8320-9763-1100DEEB5C3D}"/>
          </ac:spMkLst>
        </pc:spChg>
        <pc:spChg chg="del">
          <ac:chgData name="内山 裕弥" userId="8d34b9d0-ec49-418d-b1de-019cf6b56da5" providerId="ADAL" clId="{EE417D81-9D62-44B5-9A36-43CC1B66E142}" dt="2024-07-19T04:23:03.185" v="1302" actId="21"/>
          <ac:spMkLst>
            <pc:docMk/>
            <pc:sldMk cId="2249235288" sldId="2147378710"/>
            <ac:spMk id="30" creationId="{ABA7E6E7-22B8-6897-CAD1-5BB1F7243A11}"/>
          </ac:spMkLst>
        </pc:spChg>
        <pc:spChg chg="del">
          <ac:chgData name="内山 裕弥" userId="8d34b9d0-ec49-418d-b1de-019cf6b56da5" providerId="ADAL" clId="{EE417D81-9D62-44B5-9A36-43CC1B66E142}" dt="2024-07-19T04:23:03.185" v="1302" actId="21"/>
          <ac:spMkLst>
            <pc:docMk/>
            <pc:sldMk cId="2249235288" sldId="2147378710"/>
            <ac:spMk id="31" creationId="{97AC2652-6A11-4525-3831-C5116BDDAFD4}"/>
          </ac:spMkLst>
        </pc:spChg>
        <pc:spChg chg="del">
          <ac:chgData name="内山 裕弥" userId="8d34b9d0-ec49-418d-b1de-019cf6b56da5" providerId="ADAL" clId="{EE417D81-9D62-44B5-9A36-43CC1B66E142}" dt="2024-07-19T04:23:03.185" v="1302" actId="21"/>
          <ac:spMkLst>
            <pc:docMk/>
            <pc:sldMk cId="2249235288" sldId="2147378710"/>
            <ac:spMk id="32" creationId="{226A0974-299A-DA5C-F13B-FA16A7D473D9}"/>
          </ac:spMkLst>
        </pc:spChg>
        <pc:spChg chg="del">
          <ac:chgData name="内山 裕弥" userId="8d34b9d0-ec49-418d-b1de-019cf6b56da5" providerId="ADAL" clId="{EE417D81-9D62-44B5-9A36-43CC1B66E142}" dt="2024-07-19T04:23:03.185" v="1302" actId="21"/>
          <ac:spMkLst>
            <pc:docMk/>
            <pc:sldMk cId="2249235288" sldId="2147378710"/>
            <ac:spMk id="33" creationId="{C9FC6D16-CAD4-5B3E-F8B5-81D2A2D8CDCA}"/>
          </ac:spMkLst>
        </pc:spChg>
        <pc:spChg chg="del">
          <ac:chgData name="内山 裕弥" userId="8d34b9d0-ec49-418d-b1de-019cf6b56da5" providerId="ADAL" clId="{EE417D81-9D62-44B5-9A36-43CC1B66E142}" dt="2024-07-19T04:23:03.185" v="1302" actId="21"/>
          <ac:spMkLst>
            <pc:docMk/>
            <pc:sldMk cId="2249235288" sldId="2147378710"/>
            <ac:spMk id="34" creationId="{C89FC4AA-2731-E92F-D907-2D16595912E8}"/>
          </ac:spMkLst>
        </pc:spChg>
        <pc:spChg chg="del">
          <ac:chgData name="内山 裕弥" userId="8d34b9d0-ec49-418d-b1de-019cf6b56da5" providerId="ADAL" clId="{EE417D81-9D62-44B5-9A36-43CC1B66E142}" dt="2024-07-19T04:23:03.185" v="1302" actId="21"/>
          <ac:spMkLst>
            <pc:docMk/>
            <pc:sldMk cId="2249235288" sldId="2147378710"/>
            <ac:spMk id="35" creationId="{708AB7D6-2CDF-65E4-DFCF-96EFAC6FF818}"/>
          </ac:spMkLst>
        </pc:spChg>
        <pc:spChg chg="del">
          <ac:chgData name="内山 裕弥" userId="8d34b9d0-ec49-418d-b1de-019cf6b56da5" providerId="ADAL" clId="{EE417D81-9D62-44B5-9A36-43CC1B66E142}" dt="2024-07-19T04:23:03.185" v="1302" actId="21"/>
          <ac:spMkLst>
            <pc:docMk/>
            <pc:sldMk cId="2249235288" sldId="2147378710"/>
            <ac:spMk id="36" creationId="{833B7B3B-2AA4-02F5-9605-1CA648B26A9E}"/>
          </ac:spMkLst>
        </pc:spChg>
        <pc:grpChg chg="add mod">
          <ac:chgData name="内山 裕弥" userId="8d34b9d0-ec49-418d-b1de-019cf6b56da5" providerId="ADAL" clId="{EE417D81-9D62-44B5-9A36-43CC1B66E142}" dt="2024-07-19T04:23:10.055" v="1303"/>
          <ac:grpSpMkLst>
            <pc:docMk/>
            <pc:sldMk cId="2249235288" sldId="2147378710"/>
            <ac:grpSpMk id="3" creationId="{F85333DF-4E5C-DAEA-926C-1A154E2103A9}"/>
          </ac:grpSpMkLst>
        </pc:grpChg>
        <pc:grpChg chg="mod">
          <ac:chgData name="内山 裕弥" userId="8d34b9d0-ec49-418d-b1de-019cf6b56da5" providerId="ADAL" clId="{EE417D81-9D62-44B5-9A36-43CC1B66E142}" dt="2024-07-19T04:23:10.055" v="1303"/>
          <ac:grpSpMkLst>
            <pc:docMk/>
            <pc:sldMk cId="2249235288" sldId="2147378710"/>
            <ac:grpSpMk id="4" creationId="{EAB62C42-9CF0-6E2B-28F8-CFEDB26FC1DD}"/>
          </ac:grpSpMkLst>
        </pc:grpChg>
        <pc:grpChg chg="mod">
          <ac:chgData name="内山 裕弥" userId="8d34b9d0-ec49-418d-b1de-019cf6b56da5" providerId="ADAL" clId="{EE417D81-9D62-44B5-9A36-43CC1B66E142}" dt="2024-07-19T04:23:10.055" v="1303"/>
          <ac:grpSpMkLst>
            <pc:docMk/>
            <pc:sldMk cId="2249235288" sldId="2147378710"/>
            <ac:grpSpMk id="6" creationId="{A2007A34-9A61-3C01-D672-C413701B3445}"/>
          </ac:grpSpMkLst>
        </pc:grpChg>
        <pc:cxnChg chg="mod">
          <ac:chgData name="内山 裕弥" userId="8d34b9d0-ec49-418d-b1de-019cf6b56da5" providerId="ADAL" clId="{EE417D81-9D62-44B5-9A36-43CC1B66E142}" dt="2024-07-19T04:23:10.055" v="1303"/>
          <ac:cxnSpMkLst>
            <pc:docMk/>
            <pc:sldMk cId="2249235288" sldId="2147378710"/>
            <ac:cxnSpMk id="8" creationId="{99FBEF6F-94C3-52B0-FA40-DD378C8E4F64}"/>
          </ac:cxnSpMkLst>
        </pc:cxnChg>
        <pc:cxnChg chg="mod">
          <ac:chgData name="内山 裕弥" userId="8d34b9d0-ec49-418d-b1de-019cf6b56da5" providerId="ADAL" clId="{EE417D81-9D62-44B5-9A36-43CC1B66E142}" dt="2024-07-19T04:23:10.055" v="1303"/>
          <ac:cxnSpMkLst>
            <pc:docMk/>
            <pc:sldMk cId="2249235288" sldId="2147378710"/>
            <ac:cxnSpMk id="12" creationId="{3653E4DF-7A5D-EE67-D31F-6D64D03C04E6}"/>
          </ac:cxnSpMkLst>
        </pc:cxnChg>
        <pc:cxnChg chg="del">
          <ac:chgData name="内山 裕弥" userId="8d34b9d0-ec49-418d-b1de-019cf6b56da5" providerId="ADAL" clId="{EE417D81-9D62-44B5-9A36-43CC1B66E142}" dt="2024-07-19T04:23:03.185" v="1302" actId="21"/>
          <ac:cxnSpMkLst>
            <pc:docMk/>
            <pc:sldMk cId="2249235288" sldId="2147378710"/>
            <ac:cxnSpMk id="19" creationId="{988F5D47-E5D3-5BF3-75A0-F784D65E7675}"/>
          </ac:cxnSpMkLst>
        </pc:cxnChg>
        <pc:cxnChg chg="del">
          <ac:chgData name="内山 裕弥" userId="8d34b9d0-ec49-418d-b1de-019cf6b56da5" providerId="ADAL" clId="{EE417D81-9D62-44B5-9A36-43CC1B66E142}" dt="2024-07-19T04:23:03.185" v="1302" actId="21"/>
          <ac:cxnSpMkLst>
            <pc:docMk/>
            <pc:sldMk cId="2249235288" sldId="2147378710"/>
            <ac:cxnSpMk id="21" creationId="{2C5A1D27-39E7-7A74-E0C6-11903FAA5D16}"/>
          </ac:cxnSpMkLst>
        </pc:cxnChg>
        <pc:cxnChg chg="del">
          <ac:chgData name="内山 裕弥" userId="8d34b9d0-ec49-418d-b1de-019cf6b56da5" providerId="ADAL" clId="{EE417D81-9D62-44B5-9A36-43CC1B66E142}" dt="2024-07-19T04:23:03.185" v="1302" actId="21"/>
          <ac:cxnSpMkLst>
            <pc:docMk/>
            <pc:sldMk cId="2249235288" sldId="2147378710"/>
            <ac:cxnSpMk id="24" creationId="{67CF960F-BF89-4129-340B-68AB5FDE8755}"/>
          </ac:cxnSpMkLst>
        </pc:cxnChg>
        <pc:cxnChg chg="del">
          <ac:chgData name="内山 裕弥" userId="8d34b9d0-ec49-418d-b1de-019cf6b56da5" providerId="ADAL" clId="{EE417D81-9D62-44B5-9A36-43CC1B66E142}" dt="2024-07-19T04:23:03.185" v="1302" actId="21"/>
          <ac:cxnSpMkLst>
            <pc:docMk/>
            <pc:sldMk cId="2249235288" sldId="2147378710"/>
            <ac:cxnSpMk id="26" creationId="{D275D890-34D1-720A-5568-058C5CE60E89}"/>
          </ac:cxnSpMkLst>
        </pc:cxnChg>
        <pc:cxnChg chg="del">
          <ac:chgData name="内山 裕弥" userId="8d34b9d0-ec49-418d-b1de-019cf6b56da5" providerId="ADAL" clId="{EE417D81-9D62-44B5-9A36-43CC1B66E142}" dt="2024-07-19T04:23:03.185" v="1302" actId="21"/>
          <ac:cxnSpMkLst>
            <pc:docMk/>
            <pc:sldMk cId="2249235288" sldId="2147378710"/>
            <ac:cxnSpMk id="27" creationId="{E7CB3556-2936-30A4-AEC6-65D0A1738CDB}"/>
          </ac:cxnSpMkLst>
        </pc:cxnChg>
      </pc:sldChg>
      <pc:sldChg chg="addSp delSp modSp add mod">
        <pc:chgData name="内山 裕弥" userId="8d34b9d0-ec49-418d-b1de-019cf6b56da5" providerId="ADAL" clId="{EE417D81-9D62-44B5-9A36-43CC1B66E142}" dt="2024-07-19T04:27:00.385" v="2054"/>
        <pc:sldMkLst>
          <pc:docMk/>
          <pc:sldMk cId="1302942433" sldId="2147378711"/>
        </pc:sldMkLst>
        <pc:spChg chg="mod">
          <ac:chgData name="内山 裕弥" userId="8d34b9d0-ec49-418d-b1de-019cf6b56da5" providerId="ADAL" clId="{EE417D81-9D62-44B5-9A36-43CC1B66E142}" dt="2024-07-19T04:25:25.063" v="1717" actId="20577"/>
          <ac:spMkLst>
            <pc:docMk/>
            <pc:sldMk cId="1302942433" sldId="2147378711"/>
            <ac:spMk id="7" creationId="{081FA0EF-B0D7-A6B9-D177-CBA186431769}"/>
          </ac:spMkLst>
        </pc:spChg>
        <pc:spChg chg="mod">
          <ac:chgData name="内山 裕弥" userId="8d34b9d0-ec49-418d-b1de-019cf6b56da5" providerId="ADAL" clId="{EE417D81-9D62-44B5-9A36-43CC1B66E142}" dt="2024-07-19T04:25:15.527" v="1708" actId="20577"/>
          <ac:spMkLst>
            <pc:docMk/>
            <pc:sldMk cId="1302942433" sldId="2147378711"/>
            <ac:spMk id="9" creationId="{D22A0A06-D5A8-4A1A-B66F-2A8EDBD644F1}"/>
          </ac:spMkLst>
        </pc:spChg>
        <pc:spChg chg="mod">
          <ac:chgData name="内山 裕弥" userId="8d34b9d0-ec49-418d-b1de-019cf6b56da5" providerId="ADAL" clId="{EE417D81-9D62-44B5-9A36-43CC1B66E142}" dt="2024-07-19T04:25:22.662" v="1709" actId="1076"/>
          <ac:spMkLst>
            <pc:docMk/>
            <pc:sldMk cId="1302942433" sldId="2147378711"/>
            <ac:spMk id="10" creationId="{1A383005-B1A5-AD52-BAD8-1851206F59CA}"/>
          </ac:spMkLst>
        </pc:spChg>
        <pc:spChg chg="mod">
          <ac:chgData name="内山 裕弥" userId="8d34b9d0-ec49-418d-b1de-019cf6b56da5" providerId="ADAL" clId="{EE417D81-9D62-44B5-9A36-43CC1B66E142}" dt="2024-07-19T04:25:40.673" v="1728" actId="20577"/>
          <ac:spMkLst>
            <pc:docMk/>
            <pc:sldMk cId="1302942433" sldId="2147378711"/>
            <ac:spMk id="13" creationId="{EDAD2185-EC0D-868E-795C-E7F2FB4ACC64}"/>
          </ac:spMkLst>
        </pc:spChg>
        <pc:spChg chg="del">
          <ac:chgData name="内山 裕弥" userId="8d34b9d0-ec49-418d-b1de-019cf6b56da5" providerId="ADAL" clId="{EE417D81-9D62-44B5-9A36-43CC1B66E142}" dt="2024-07-19T04:25:30.437" v="1719" actId="478"/>
          <ac:spMkLst>
            <pc:docMk/>
            <pc:sldMk cId="1302942433" sldId="2147378711"/>
            <ac:spMk id="14" creationId="{EB154E72-D468-E337-5176-249A512E7AD4}"/>
          </ac:spMkLst>
        </pc:spChg>
        <pc:spChg chg="mod">
          <ac:chgData name="内山 裕弥" userId="8d34b9d0-ec49-418d-b1de-019cf6b56da5" providerId="ADAL" clId="{EE417D81-9D62-44B5-9A36-43CC1B66E142}" dt="2024-07-19T04:26:21.330" v="1901" actId="20577"/>
          <ac:spMkLst>
            <pc:docMk/>
            <pc:sldMk cId="1302942433" sldId="2147378711"/>
            <ac:spMk id="15" creationId="{023910BE-64AD-C23C-E1DF-2E35F066FA1D}"/>
          </ac:spMkLst>
        </pc:spChg>
        <pc:spChg chg="add mod">
          <ac:chgData name="内山 裕弥" userId="8d34b9d0-ec49-418d-b1de-019cf6b56da5" providerId="ADAL" clId="{EE417D81-9D62-44B5-9A36-43CC1B66E142}" dt="2024-07-19T04:27:00.385" v="2054"/>
          <ac:spMkLst>
            <pc:docMk/>
            <pc:sldMk cId="1302942433" sldId="2147378711"/>
            <ac:spMk id="16" creationId="{9BE531E5-4F22-4DE9-B6DB-7FD8253B5070}"/>
          </ac:spMkLst>
        </pc:spChg>
        <pc:grpChg chg="mod">
          <ac:chgData name="内山 裕弥" userId="8d34b9d0-ec49-418d-b1de-019cf6b56da5" providerId="ADAL" clId="{EE417D81-9D62-44B5-9A36-43CC1B66E142}" dt="2024-07-19T04:25:22.662" v="1709" actId="1076"/>
          <ac:grpSpMkLst>
            <pc:docMk/>
            <pc:sldMk cId="1302942433" sldId="2147378711"/>
            <ac:grpSpMk id="3" creationId="{F85333DF-4E5C-DAEA-926C-1A154E2103A9}"/>
          </ac:grpSpMkLst>
        </pc:grpChg>
        <pc:grpChg chg="mod">
          <ac:chgData name="内山 裕弥" userId="8d34b9d0-ec49-418d-b1de-019cf6b56da5" providerId="ADAL" clId="{EE417D81-9D62-44B5-9A36-43CC1B66E142}" dt="2024-07-19T04:25:22.662" v="1709" actId="1076"/>
          <ac:grpSpMkLst>
            <pc:docMk/>
            <pc:sldMk cId="1302942433" sldId="2147378711"/>
            <ac:grpSpMk id="4" creationId="{EAB62C42-9CF0-6E2B-28F8-CFEDB26FC1DD}"/>
          </ac:grpSpMkLst>
        </pc:grpChg>
        <pc:grpChg chg="mod">
          <ac:chgData name="内山 裕弥" userId="8d34b9d0-ec49-418d-b1de-019cf6b56da5" providerId="ADAL" clId="{EE417D81-9D62-44B5-9A36-43CC1B66E142}" dt="2024-07-19T04:25:22.662" v="1709" actId="1076"/>
          <ac:grpSpMkLst>
            <pc:docMk/>
            <pc:sldMk cId="1302942433" sldId="2147378711"/>
            <ac:grpSpMk id="6" creationId="{A2007A34-9A61-3C01-D672-C413701B3445}"/>
          </ac:grpSpMkLst>
        </pc:grpChg>
        <pc:cxnChg chg="mod">
          <ac:chgData name="内山 裕弥" userId="8d34b9d0-ec49-418d-b1de-019cf6b56da5" providerId="ADAL" clId="{EE417D81-9D62-44B5-9A36-43CC1B66E142}" dt="2024-07-19T04:25:22.662" v="1709" actId="1076"/>
          <ac:cxnSpMkLst>
            <pc:docMk/>
            <pc:sldMk cId="1302942433" sldId="2147378711"/>
            <ac:cxnSpMk id="8" creationId="{99FBEF6F-94C3-52B0-FA40-DD378C8E4F64}"/>
          </ac:cxnSpMkLst>
        </pc:cxnChg>
        <pc:cxnChg chg="mod">
          <ac:chgData name="内山 裕弥" userId="8d34b9d0-ec49-418d-b1de-019cf6b56da5" providerId="ADAL" clId="{EE417D81-9D62-44B5-9A36-43CC1B66E142}" dt="2024-07-19T04:25:22.662" v="1709" actId="1076"/>
          <ac:cxnSpMkLst>
            <pc:docMk/>
            <pc:sldMk cId="1302942433" sldId="2147378711"/>
            <ac:cxnSpMk id="12" creationId="{3653E4DF-7A5D-EE67-D31F-6D64D03C04E6}"/>
          </ac:cxnSpMkLst>
        </pc:cxnChg>
      </pc:sldChg>
      <pc:sldChg chg="addSp delSp modSp add mod">
        <pc:chgData name="内山 裕弥" userId="8d34b9d0-ec49-418d-b1de-019cf6b56da5" providerId="ADAL" clId="{EE417D81-9D62-44B5-9A36-43CC1B66E142}" dt="2024-07-19T04:29:03.172" v="2359" actId="20577"/>
        <pc:sldMkLst>
          <pc:docMk/>
          <pc:sldMk cId="958813593" sldId="2147378712"/>
        </pc:sldMkLst>
        <pc:spChg chg="mod">
          <ac:chgData name="内山 裕弥" userId="8d34b9d0-ec49-418d-b1de-019cf6b56da5" providerId="ADAL" clId="{EE417D81-9D62-44B5-9A36-43CC1B66E142}" dt="2024-07-19T04:29:03.172" v="2359" actId="20577"/>
          <ac:spMkLst>
            <pc:docMk/>
            <pc:sldMk cId="958813593" sldId="2147378712"/>
            <ac:spMk id="9" creationId="{D22A0A06-D5A8-4A1A-B66F-2A8EDBD644F1}"/>
          </ac:spMkLst>
        </pc:spChg>
        <pc:spChg chg="del">
          <ac:chgData name="内山 裕弥" userId="8d34b9d0-ec49-418d-b1de-019cf6b56da5" providerId="ADAL" clId="{EE417D81-9D62-44B5-9A36-43CC1B66E142}" dt="2024-07-19T04:28:10.201" v="2089" actId="478"/>
          <ac:spMkLst>
            <pc:docMk/>
            <pc:sldMk cId="958813593" sldId="2147378712"/>
            <ac:spMk id="13" creationId="{EDAD2185-EC0D-868E-795C-E7F2FB4ACC64}"/>
          </ac:spMkLst>
        </pc:spChg>
        <pc:spChg chg="del">
          <ac:chgData name="内山 裕弥" userId="8d34b9d0-ec49-418d-b1de-019cf6b56da5" providerId="ADAL" clId="{EE417D81-9D62-44B5-9A36-43CC1B66E142}" dt="2024-07-19T04:28:10.201" v="2089" actId="478"/>
          <ac:spMkLst>
            <pc:docMk/>
            <pc:sldMk cId="958813593" sldId="2147378712"/>
            <ac:spMk id="15" creationId="{023910BE-64AD-C23C-E1DF-2E35F066FA1D}"/>
          </ac:spMkLst>
        </pc:spChg>
        <pc:spChg chg="del">
          <ac:chgData name="内山 裕弥" userId="8d34b9d0-ec49-418d-b1de-019cf6b56da5" providerId="ADAL" clId="{EE417D81-9D62-44B5-9A36-43CC1B66E142}" dt="2024-07-19T04:28:10.201" v="2089" actId="478"/>
          <ac:spMkLst>
            <pc:docMk/>
            <pc:sldMk cId="958813593" sldId="2147378712"/>
            <ac:spMk id="16" creationId="{9BE531E5-4F22-4DE9-B6DB-7FD8253B5070}"/>
          </ac:spMkLst>
        </pc:spChg>
        <pc:spChg chg="add mod">
          <ac:chgData name="内山 裕弥" userId="8d34b9d0-ec49-418d-b1de-019cf6b56da5" providerId="ADAL" clId="{EE417D81-9D62-44B5-9A36-43CC1B66E142}" dt="2024-07-19T04:28:58.853" v="2350" actId="20577"/>
          <ac:spMkLst>
            <pc:docMk/>
            <pc:sldMk cId="958813593" sldId="2147378712"/>
            <ac:spMk id="17" creationId="{8E12BC20-AEA4-4454-E75A-D818ACE447A8}"/>
          </ac:spMkLst>
        </pc:spChg>
        <pc:grpChg chg="del">
          <ac:chgData name="内山 裕弥" userId="8d34b9d0-ec49-418d-b1de-019cf6b56da5" providerId="ADAL" clId="{EE417D81-9D62-44B5-9A36-43CC1B66E142}" dt="2024-07-19T04:28:10.201" v="2089" actId="478"/>
          <ac:grpSpMkLst>
            <pc:docMk/>
            <pc:sldMk cId="958813593" sldId="2147378712"/>
            <ac:grpSpMk id="3" creationId="{F85333DF-4E5C-DAEA-926C-1A154E2103A9}"/>
          </ac:grpSpMkLst>
        </pc:grpChg>
        <pc:graphicFrameChg chg="add mod">
          <ac:chgData name="内山 裕弥" userId="8d34b9d0-ec49-418d-b1de-019cf6b56da5" providerId="ADAL" clId="{EE417D81-9D62-44B5-9A36-43CC1B66E142}" dt="2024-07-19T04:28:13.470" v="2091" actId="1076"/>
          <ac:graphicFrameMkLst>
            <pc:docMk/>
            <pc:sldMk cId="958813593" sldId="2147378712"/>
            <ac:graphicFrameMk id="14" creationId="{9887595F-90B6-1EDC-9BF9-62AD79C17B7E}"/>
          </ac:graphicFrameMkLst>
        </pc:graphicFrameChg>
      </pc:sldChg>
      <pc:sldChg chg="delSp modSp add mod">
        <pc:chgData name="内山 裕弥" userId="8d34b9d0-ec49-418d-b1de-019cf6b56da5" providerId="ADAL" clId="{EE417D81-9D62-44B5-9A36-43CC1B66E142}" dt="2024-07-19T04:40:00.646" v="3980" actId="1076"/>
        <pc:sldMkLst>
          <pc:docMk/>
          <pc:sldMk cId="2848558883" sldId="2147378713"/>
        </pc:sldMkLst>
        <pc:spChg chg="mod">
          <ac:chgData name="内山 裕弥" userId="8d34b9d0-ec49-418d-b1de-019cf6b56da5" providerId="ADAL" clId="{EE417D81-9D62-44B5-9A36-43CC1B66E142}" dt="2024-07-19T04:39:04.675" v="3798" actId="20577"/>
          <ac:spMkLst>
            <pc:docMk/>
            <pc:sldMk cId="2848558883" sldId="2147378713"/>
            <ac:spMk id="4" creationId="{29DB748F-EFF5-4509-B381-6B8D73B31303}"/>
          </ac:spMkLst>
        </pc:spChg>
        <pc:spChg chg="mod">
          <ac:chgData name="内山 裕弥" userId="8d34b9d0-ec49-418d-b1de-019cf6b56da5" providerId="ADAL" clId="{EE417D81-9D62-44B5-9A36-43CC1B66E142}" dt="2024-07-19T04:40:00.646" v="3980" actId="1076"/>
          <ac:spMkLst>
            <pc:docMk/>
            <pc:sldMk cId="2848558883" sldId="2147378713"/>
            <ac:spMk id="6" creationId="{9E4631E7-964D-E009-B2BB-C8E7CB208D67}"/>
          </ac:spMkLst>
        </pc:spChg>
        <pc:spChg chg="mod">
          <ac:chgData name="内山 裕弥" userId="8d34b9d0-ec49-418d-b1de-019cf6b56da5" providerId="ADAL" clId="{EE417D81-9D62-44B5-9A36-43CC1B66E142}" dt="2024-07-19T04:39:57.013" v="3979" actId="20577"/>
          <ac:spMkLst>
            <pc:docMk/>
            <pc:sldMk cId="2848558883" sldId="2147378713"/>
            <ac:spMk id="7" creationId="{44C5D2AE-5A67-8B16-4D64-05BEA1BC14F5}"/>
          </ac:spMkLst>
        </pc:spChg>
        <pc:graphicFrameChg chg="del">
          <ac:chgData name="内山 裕弥" userId="8d34b9d0-ec49-418d-b1de-019cf6b56da5" providerId="ADAL" clId="{EE417D81-9D62-44B5-9A36-43CC1B66E142}" dt="2024-07-19T04:39:10.354" v="3799" actId="21"/>
          <ac:graphicFrameMkLst>
            <pc:docMk/>
            <pc:sldMk cId="2848558883" sldId="2147378713"/>
            <ac:graphicFrameMk id="2" creationId="{11947C01-3F25-5707-DF65-95146B28736C}"/>
          </ac:graphicFrameMkLst>
        </pc:graphicFrameChg>
      </pc:sldChg>
      <pc:sldChg chg="delSp modSp add mod">
        <pc:chgData name="内山 裕弥" userId="8d34b9d0-ec49-418d-b1de-019cf6b56da5" providerId="ADAL" clId="{EE417D81-9D62-44B5-9A36-43CC1B66E142}" dt="2024-07-19T04:52:25.224" v="4790" actId="478"/>
        <pc:sldMkLst>
          <pc:docMk/>
          <pc:sldMk cId="3334367261" sldId="2147378714"/>
        </pc:sldMkLst>
        <pc:spChg chg="mod">
          <ac:chgData name="内山 裕弥" userId="8d34b9d0-ec49-418d-b1de-019cf6b56da5" providerId="ADAL" clId="{EE417D81-9D62-44B5-9A36-43CC1B66E142}" dt="2024-07-19T04:47:56.774" v="4498" actId="1076"/>
          <ac:spMkLst>
            <pc:docMk/>
            <pc:sldMk cId="3334367261" sldId="2147378714"/>
            <ac:spMk id="4" creationId="{2D9DF4BF-A6B4-F174-8EB6-98CC10E01A36}"/>
          </ac:spMkLst>
        </pc:spChg>
        <pc:spChg chg="del">
          <ac:chgData name="内山 裕弥" userId="8d34b9d0-ec49-418d-b1de-019cf6b56da5" providerId="ADAL" clId="{EE417D81-9D62-44B5-9A36-43CC1B66E142}" dt="2024-07-19T04:52:25.224" v="4790" actId="478"/>
          <ac:spMkLst>
            <pc:docMk/>
            <pc:sldMk cId="3334367261" sldId="2147378714"/>
            <ac:spMk id="7" creationId="{A0503B66-1299-571B-996C-A6BEA9AA3FFB}"/>
          </ac:spMkLst>
        </pc:spChg>
        <pc:spChg chg="mod">
          <ac:chgData name="内山 裕弥" userId="8d34b9d0-ec49-418d-b1de-019cf6b56da5" providerId="ADAL" clId="{EE417D81-9D62-44B5-9A36-43CC1B66E142}" dt="2024-07-19T04:45:41.753" v="4238" actId="20577"/>
          <ac:spMkLst>
            <pc:docMk/>
            <pc:sldMk cId="3334367261" sldId="2147378714"/>
            <ac:spMk id="9" creationId="{D22A0A06-D5A8-4A1A-B66F-2A8EDBD644F1}"/>
          </ac:spMkLst>
        </pc:spChg>
        <pc:graphicFrameChg chg="mod modGraphic">
          <ac:chgData name="内山 裕弥" userId="8d34b9d0-ec49-418d-b1de-019cf6b56da5" providerId="ADAL" clId="{EE417D81-9D62-44B5-9A36-43CC1B66E142}" dt="2024-07-19T04:47:54.331" v="4497" actId="20577"/>
          <ac:graphicFrameMkLst>
            <pc:docMk/>
            <pc:sldMk cId="3334367261" sldId="2147378714"/>
            <ac:graphicFrameMk id="3" creationId="{789DCD94-CACD-CC79-48EF-F13A5ACFBD8A}"/>
          </ac:graphicFrameMkLst>
        </pc:graphicFrameChg>
      </pc:sldChg>
      <pc:sldChg chg="addSp delSp modSp add mod">
        <pc:chgData name="内山 裕弥" userId="8d34b9d0-ec49-418d-b1de-019cf6b56da5" providerId="ADAL" clId="{EE417D81-9D62-44B5-9A36-43CC1B66E142}" dt="2024-07-19T05:07:46.038" v="6720" actId="20577"/>
        <pc:sldMkLst>
          <pc:docMk/>
          <pc:sldMk cId="89963991" sldId="2147378715"/>
        </pc:sldMkLst>
        <pc:spChg chg="mod">
          <ac:chgData name="内山 裕弥" userId="8d34b9d0-ec49-418d-b1de-019cf6b56da5" providerId="ADAL" clId="{EE417D81-9D62-44B5-9A36-43CC1B66E142}" dt="2024-07-19T05:07:46.038" v="6720" actId="20577"/>
          <ac:spMkLst>
            <pc:docMk/>
            <pc:sldMk cId="89963991" sldId="2147378715"/>
            <ac:spMk id="4" creationId="{9986CF63-9F4F-EEC8-16B1-03EAAE162369}"/>
          </ac:spMkLst>
        </pc:spChg>
        <pc:spChg chg="mod">
          <ac:chgData name="内山 裕弥" userId="8d34b9d0-ec49-418d-b1de-019cf6b56da5" providerId="ADAL" clId="{EE417D81-9D62-44B5-9A36-43CC1B66E142}" dt="2024-07-19T05:03:52.208" v="6121" actId="20577"/>
          <ac:spMkLst>
            <pc:docMk/>
            <pc:sldMk cId="89963991" sldId="2147378715"/>
            <ac:spMk id="9" creationId="{F7DA7227-3724-60C8-1F06-5A8A2F4AF1F8}"/>
          </ac:spMkLst>
        </pc:spChg>
        <pc:spChg chg="mod">
          <ac:chgData name="内山 裕弥" userId="8d34b9d0-ec49-418d-b1de-019cf6b56da5" providerId="ADAL" clId="{EE417D81-9D62-44B5-9A36-43CC1B66E142}" dt="2024-07-19T05:04:00.439" v="6123"/>
          <ac:spMkLst>
            <pc:docMk/>
            <pc:sldMk cId="89963991" sldId="2147378715"/>
            <ac:spMk id="10" creationId="{2760C657-E546-400B-F795-216C14288289}"/>
          </ac:spMkLst>
        </pc:spChg>
        <pc:spChg chg="mod">
          <ac:chgData name="内山 裕弥" userId="8d34b9d0-ec49-418d-b1de-019cf6b56da5" providerId="ADAL" clId="{EE417D81-9D62-44B5-9A36-43CC1B66E142}" dt="2024-07-19T05:04:00.439" v="6123"/>
          <ac:spMkLst>
            <pc:docMk/>
            <pc:sldMk cId="89963991" sldId="2147378715"/>
            <ac:spMk id="11" creationId="{66BF40DF-FEE7-20C6-E70D-8323FB5F5C92}"/>
          </ac:spMkLst>
        </pc:spChg>
        <pc:grpChg chg="add del mod">
          <ac:chgData name="内山 裕弥" userId="8d34b9d0-ec49-418d-b1de-019cf6b56da5" providerId="ADAL" clId="{EE417D81-9D62-44B5-9A36-43CC1B66E142}" dt="2024-07-19T05:04:04.663" v="6124"/>
          <ac:grpSpMkLst>
            <pc:docMk/>
            <pc:sldMk cId="89963991" sldId="2147378715"/>
            <ac:grpSpMk id="7" creationId="{00050D12-A362-11F1-3082-B0DD69466372}"/>
          </ac:grpSpMkLst>
        </pc:grpChg>
        <pc:picChg chg="add del mod">
          <ac:chgData name="内山 裕弥" userId="8d34b9d0-ec49-418d-b1de-019cf6b56da5" providerId="ADAL" clId="{EE417D81-9D62-44B5-9A36-43CC1B66E142}" dt="2024-07-19T05:04:04.663" v="6124"/>
          <ac:picMkLst>
            <pc:docMk/>
            <pc:sldMk cId="89963991" sldId="2147378715"/>
            <ac:picMk id="3" creationId="{1E18EF1D-C4A1-0613-789E-7AECDA0A9B21}"/>
          </ac:picMkLst>
        </pc:picChg>
        <pc:picChg chg="mod">
          <ac:chgData name="内山 裕弥" userId="8d34b9d0-ec49-418d-b1de-019cf6b56da5" providerId="ADAL" clId="{EE417D81-9D62-44B5-9A36-43CC1B66E142}" dt="2024-07-19T05:04:00.439" v="6123"/>
          <ac:picMkLst>
            <pc:docMk/>
            <pc:sldMk cId="89963991" sldId="2147378715"/>
            <ac:picMk id="8" creationId="{FC089C0A-4125-B46A-F1F8-86204FD0543E}"/>
          </ac:picMkLst>
        </pc:picChg>
        <pc:picChg chg="add mod ord">
          <ac:chgData name="内山 裕弥" userId="8d34b9d0-ec49-418d-b1de-019cf6b56da5" providerId="ADAL" clId="{EE417D81-9D62-44B5-9A36-43CC1B66E142}" dt="2024-07-19T05:04:09.868" v="6128" actId="1076"/>
          <ac:picMkLst>
            <pc:docMk/>
            <pc:sldMk cId="89963991" sldId="2147378715"/>
            <ac:picMk id="12" creationId="{4FAFF68C-D7FF-A72F-07AE-666C52F083D6}"/>
          </ac:picMkLst>
        </pc:picChg>
        <pc:picChg chg="del">
          <ac:chgData name="内山 裕弥" userId="8d34b9d0-ec49-418d-b1de-019cf6b56da5" providerId="ADAL" clId="{EE417D81-9D62-44B5-9A36-43CC1B66E142}" dt="2024-07-19T05:03:54.278" v="6122" actId="478"/>
          <ac:picMkLst>
            <pc:docMk/>
            <pc:sldMk cId="89963991" sldId="2147378715"/>
            <ac:picMk id="31" creationId="{16020430-00B1-287F-A924-BAA06D233495}"/>
          </ac:picMkLst>
        </pc:picChg>
      </pc:sldChg>
      <pc:sldChg chg="addSp delSp modSp add mod">
        <pc:chgData name="内山 裕弥" userId="8d34b9d0-ec49-418d-b1de-019cf6b56da5" providerId="ADAL" clId="{EE417D81-9D62-44B5-9A36-43CC1B66E142}" dt="2024-07-19T05:07:34.889" v="6714" actId="21"/>
        <pc:sldMkLst>
          <pc:docMk/>
          <pc:sldMk cId="1575785639" sldId="2147378716"/>
        </pc:sldMkLst>
        <pc:spChg chg="mod">
          <ac:chgData name="内山 裕弥" userId="8d34b9d0-ec49-418d-b1de-019cf6b56da5" providerId="ADAL" clId="{EE417D81-9D62-44B5-9A36-43CC1B66E142}" dt="2024-07-19T05:07:34.889" v="6714" actId="21"/>
          <ac:spMkLst>
            <pc:docMk/>
            <pc:sldMk cId="1575785639" sldId="2147378716"/>
            <ac:spMk id="4" creationId="{9986CF63-9F4F-EEC8-16B1-03EAAE162369}"/>
          </ac:spMkLst>
        </pc:spChg>
        <pc:spChg chg="add del mod">
          <ac:chgData name="内山 裕弥" userId="8d34b9d0-ec49-418d-b1de-019cf6b56da5" providerId="ADAL" clId="{EE417D81-9D62-44B5-9A36-43CC1B66E142}" dt="2024-07-19T05:05:23.985" v="6424"/>
          <ac:spMkLst>
            <pc:docMk/>
            <pc:sldMk cId="1575785639" sldId="2147378716"/>
            <ac:spMk id="8" creationId="{8D36D045-D539-12A8-6294-8DE2CF48886D}"/>
          </ac:spMkLst>
        </pc:spChg>
        <pc:spChg chg="mod">
          <ac:chgData name="内山 裕弥" userId="8d34b9d0-ec49-418d-b1de-019cf6b56da5" providerId="ADAL" clId="{EE417D81-9D62-44B5-9A36-43CC1B66E142}" dt="2024-07-19T05:05:16.555" v="6421" actId="20577"/>
          <ac:spMkLst>
            <pc:docMk/>
            <pc:sldMk cId="1575785639" sldId="2147378716"/>
            <ac:spMk id="9" creationId="{F7DA7227-3724-60C8-1F06-5A8A2F4AF1F8}"/>
          </ac:spMkLst>
        </pc:spChg>
        <pc:spChg chg="add del mod">
          <ac:chgData name="内山 裕弥" userId="8d34b9d0-ec49-418d-b1de-019cf6b56da5" providerId="ADAL" clId="{EE417D81-9D62-44B5-9A36-43CC1B66E142}" dt="2024-07-19T05:05:23.985" v="6424"/>
          <ac:spMkLst>
            <pc:docMk/>
            <pc:sldMk cId="1575785639" sldId="2147378716"/>
            <ac:spMk id="10" creationId="{C85F3F67-EA06-AD4E-1DB8-1A9A8125C8CE}"/>
          </ac:spMkLst>
        </pc:spChg>
        <pc:spChg chg="add del mod">
          <ac:chgData name="内山 裕弥" userId="8d34b9d0-ec49-418d-b1de-019cf6b56da5" providerId="ADAL" clId="{EE417D81-9D62-44B5-9A36-43CC1B66E142}" dt="2024-07-19T05:05:23.985" v="6424"/>
          <ac:spMkLst>
            <pc:docMk/>
            <pc:sldMk cId="1575785639" sldId="2147378716"/>
            <ac:spMk id="11" creationId="{A9CF1634-7B2C-C3B2-BDE4-6C87BA0A384D}"/>
          </ac:spMkLst>
        </pc:spChg>
        <pc:spChg chg="add del mod">
          <ac:chgData name="内山 裕弥" userId="8d34b9d0-ec49-418d-b1de-019cf6b56da5" providerId="ADAL" clId="{EE417D81-9D62-44B5-9A36-43CC1B66E142}" dt="2024-07-19T05:05:23.985" v="6424"/>
          <ac:spMkLst>
            <pc:docMk/>
            <pc:sldMk cId="1575785639" sldId="2147378716"/>
            <ac:spMk id="13" creationId="{FA98E4E2-ACAB-BF8A-9CE3-749808AD499E}"/>
          </ac:spMkLst>
        </pc:spChg>
        <pc:picChg chg="add del mod">
          <ac:chgData name="内山 裕弥" userId="8d34b9d0-ec49-418d-b1de-019cf6b56da5" providerId="ADAL" clId="{EE417D81-9D62-44B5-9A36-43CC1B66E142}" dt="2024-07-19T05:05:23.985" v="6424"/>
          <ac:picMkLst>
            <pc:docMk/>
            <pc:sldMk cId="1575785639" sldId="2147378716"/>
            <ac:picMk id="3" creationId="{32350EDC-425A-E341-322A-324BA6663E6B}"/>
          </ac:picMkLst>
        </pc:picChg>
        <pc:picChg chg="add del mod">
          <ac:chgData name="内山 裕弥" userId="8d34b9d0-ec49-418d-b1de-019cf6b56da5" providerId="ADAL" clId="{EE417D81-9D62-44B5-9A36-43CC1B66E142}" dt="2024-07-19T05:05:23.985" v="6424"/>
          <ac:picMkLst>
            <pc:docMk/>
            <pc:sldMk cId="1575785639" sldId="2147378716"/>
            <ac:picMk id="7" creationId="{7F319213-AD3E-D3A9-81A9-EACAFDAE99FD}"/>
          </ac:picMkLst>
        </pc:picChg>
        <pc:picChg chg="del">
          <ac:chgData name="内山 裕弥" userId="8d34b9d0-ec49-418d-b1de-019cf6b56da5" providerId="ADAL" clId="{EE417D81-9D62-44B5-9A36-43CC1B66E142}" dt="2024-07-19T05:05:22.151" v="6422" actId="478"/>
          <ac:picMkLst>
            <pc:docMk/>
            <pc:sldMk cId="1575785639" sldId="2147378716"/>
            <ac:picMk id="12" creationId="{4FAFF68C-D7FF-A72F-07AE-666C52F083D6}"/>
          </ac:picMkLst>
        </pc:picChg>
        <pc:picChg chg="add mod ord">
          <ac:chgData name="内山 裕弥" userId="8d34b9d0-ec49-418d-b1de-019cf6b56da5" providerId="ADAL" clId="{EE417D81-9D62-44B5-9A36-43CC1B66E142}" dt="2024-07-19T05:05:27.088" v="6427" actId="1076"/>
          <ac:picMkLst>
            <pc:docMk/>
            <pc:sldMk cId="1575785639" sldId="2147378716"/>
            <ac:picMk id="14" creationId="{14F881AA-A9DD-5D4C-6B41-DC64E37C5F31}"/>
          </ac:picMkLst>
        </pc:picChg>
      </pc:sldChg>
      <pc:sldChg chg="addSp delSp modSp add mod">
        <pc:chgData name="内山 裕弥" userId="8d34b9d0-ec49-418d-b1de-019cf6b56da5" providerId="ADAL" clId="{EE417D81-9D62-44B5-9A36-43CC1B66E142}" dt="2024-07-19T05:33:50.062" v="8566" actId="1076"/>
        <pc:sldMkLst>
          <pc:docMk/>
          <pc:sldMk cId="1334307493" sldId="2147378717"/>
        </pc:sldMkLst>
        <pc:spChg chg="mod">
          <ac:chgData name="内山 裕弥" userId="8d34b9d0-ec49-418d-b1de-019cf6b56da5" providerId="ADAL" clId="{EE417D81-9D62-44B5-9A36-43CC1B66E142}" dt="2024-07-19T05:33:21.398" v="8428" actId="20577"/>
          <ac:spMkLst>
            <pc:docMk/>
            <pc:sldMk cId="1334307493" sldId="2147378717"/>
            <ac:spMk id="4" creationId="{4F1B8C31-A2AA-E8B5-6842-B8CA68666E37}"/>
          </ac:spMkLst>
        </pc:spChg>
        <pc:spChg chg="mod ord">
          <ac:chgData name="内山 裕弥" userId="8d34b9d0-ec49-418d-b1de-019cf6b56da5" providerId="ADAL" clId="{EE417D81-9D62-44B5-9A36-43CC1B66E142}" dt="2024-07-19T05:33:50.062" v="8566" actId="1076"/>
          <ac:spMkLst>
            <pc:docMk/>
            <pc:sldMk cId="1334307493" sldId="2147378717"/>
            <ac:spMk id="13" creationId="{ED88E5C2-1CEC-3507-1A41-A32A9F740D09}"/>
          </ac:spMkLst>
        </pc:spChg>
        <pc:graphicFrameChg chg="add del mod">
          <ac:chgData name="内山 裕弥" userId="8d34b9d0-ec49-418d-b1de-019cf6b56da5" providerId="ADAL" clId="{EE417D81-9D62-44B5-9A36-43CC1B66E142}" dt="2024-07-19T05:33:03.185" v="8397"/>
          <ac:graphicFrameMkLst>
            <pc:docMk/>
            <pc:sldMk cId="1334307493" sldId="2147378717"/>
            <ac:graphicFrameMk id="5" creationId="{98417A8D-9AEF-B2C3-0908-984CD11D52E5}"/>
          </ac:graphicFrameMkLst>
        </pc:graphicFrameChg>
        <pc:graphicFrameChg chg="add mod modGraphic">
          <ac:chgData name="内山 裕弥" userId="8d34b9d0-ec49-418d-b1de-019cf6b56da5" providerId="ADAL" clId="{EE417D81-9D62-44B5-9A36-43CC1B66E142}" dt="2024-07-19T05:33:47.518" v="8565" actId="207"/>
          <ac:graphicFrameMkLst>
            <pc:docMk/>
            <pc:sldMk cId="1334307493" sldId="2147378717"/>
            <ac:graphicFrameMk id="8" creationId="{1E5897B3-2F6F-760C-55F3-ADE995C99D64}"/>
          </ac:graphicFrameMkLst>
        </pc:graphicFrameChg>
        <pc:picChg chg="add del">
          <ac:chgData name="内山 裕弥" userId="8d34b9d0-ec49-418d-b1de-019cf6b56da5" providerId="ADAL" clId="{EE417D81-9D62-44B5-9A36-43CC1B66E142}" dt="2024-07-19T05:33:05.335" v="8399"/>
          <ac:picMkLst>
            <pc:docMk/>
            <pc:sldMk cId="1334307493" sldId="2147378717"/>
            <ac:picMk id="7" creationId="{E6DD9AB0-E0EE-D612-BC04-576794DAEFB8}"/>
          </ac:picMkLst>
        </pc:picChg>
        <pc:picChg chg="del">
          <ac:chgData name="内山 裕弥" userId="8d34b9d0-ec49-418d-b1de-019cf6b56da5" providerId="ADAL" clId="{EE417D81-9D62-44B5-9A36-43CC1B66E142}" dt="2024-07-19T05:33:00.803" v="8395" actId="478"/>
          <ac:picMkLst>
            <pc:docMk/>
            <pc:sldMk cId="1334307493" sldId="2147378717"/>
            <ac:picMk id="12" creationId="{920D49B5-780A-0B0E-081E-8188B35BACC6}"/>
          </ac:picMkLst>
        </pc:picChg>
      </pc:sldChg>
      <pc:sldChg chg="addSp delSp modSp add mod">
        <pc:chgData name="内山 裕弥" userId="8d34b9d0-ec49-418d-b1de-019cf6b56da5" providerId="ADAL" clId="{EE417D81-9D62-44B5-9A36-43CC1B66E142}" dt="2024-07-19T05:44:35.564" v="8793" actId="1076"/>
        <pc:sldMkLst>
          <pc:docMk/>
          <pc:sldMk cId="2574112575" sldId="2147378718"/>
        </pc:sldMkLst>
        <pc:spChg chg="mod">
          <ac:chgData name="内山 裕弥" userId="8d34b9d0-ec49-418d-b1de-019cf6b56da5" providerId="ADAL" clId="{EE417D81-9D62-44B5-9A36-43CC1B66E142}" dt="2024-07-19T05:40:34.675" v="8594"/>
          <ac:spMkLst>
            <pc:docMk/>
            <pc:sldMk cId="2574112575" sldId="2147378718"/>
            <ac:spMk id="4" creationId="{12C53150-040F-52DA-C62A-71223FB5EBC3}"/>
          </ac:spMkLst>
        </pc:spChg>
        <pc:spChg chg="mod">
          <ac:chgData name="内山 裕弥" userId="8d34b9d0-ec49-418d-b1de-019cf6b56da5" providerId="ADAL" clId="{EE417D81-9D62-44B5-9A36-43CC1B66E142}" dt="2024-07-19T05:44:35.564" v="8793" actId="1076"/>
          <ac:spMkLst>
            <pc:docMk/>
            <pc:sldMk cId="2574112575" sldId="2147378718"/>
            <ac:spMk id="7" creationId="{91D9460F-1390-32F5-1B0E-70693C6D1EFA}"/>
          </ac:spMkLst>
        </pc:spChg>
        <pc:graphicFrameChg chg="del">
          <ac:chgData name="内山 裕弥" userId="8d34b9d0-ec49-418d-b1de-019cf6b56da5" providerId="ADAL" clId="{EE417D81-9D62-44B5-9A36-43CC1B66E142}" dt="2024-07-19T05:40:39.926" v="8595" actId="478"/>
          <ac:graphicFrameMkLst>
            <pc:docMk/>
            <pc:sldMk cId="2574112575" sldId="2147378718"/>
            <ac:graphicFrameMk id="2" creationId="{160D2BC7-24B6-9403-A602-4F7ED4041F1F}"/>
          </ac:graphicFrameMkLst>
        </pc:graphicFrameChg>
        <pc:graphicFrameChg chg="add mod ord modGraphic">
          <ac:chgData name="内山 裕弥" userId="8d34b9d0-ec49-418d-b1de-019cf6b56da5" providerId="ADAL" clId="{EE417D81-9D62-44B5-9A36-43CC1B66E142}" dt="2024-07-19T05:41:39.056" v="8670" actId="207"/>
          <ac:graphicFrameMkLst>
            <pc:docMk/>
            <pc:sldMk cId="2574112575" sldId="2147378718"/>
            <ac:graphicFrameMk id="6" creationId="{D49F8818-13D5-031F-17C9-B075602B9F36}"/>
          </ac:graphicFrameMkLst>
        </pc:graphicFrameChg>
      </pc:sldChg>
      <pc:sldChg chg="addSp delSp modSp add mod">
        <pc:chgData name="内山 裕弥" userId="8d34b9d0-ec49-418d-b1de-019cf6b56da5" providerId="ADAL" clId="{EE417D81-9D62-44B5-9A36-43CC1B66E142}" dt="2024-07-19T11:11:50.763" v="9436" actId="20577"/>
        <pc:sldMkLst>
          <pc:docMk/>
          <pc:sldMk cId="2029142166" sldId="2147378719"/>
        </pc:sldMkLst>
        <pc:spChg chg="mod">
          <ac:chgData name="内山 裕弥" userId="8d34b9d0-ec49-418d-b1de-019cf6b56da5" providerId="ADAL" clId="{EE417D81-9D62-44B5-9A36-43CC1B66E142}" dt="2024-07-19T11:11:34.860" v="9409"/>
          <ac:spMkLst>
            <pc:docMk/>
            <pc:sldMk cId="2029142166" sldId="2147378719"/>
            <ac:spMk id="4" creationId="{DCD11E60-C345-0156-A89F-36AE8A4A9155}"/>
          </ac:spMkLst>
        </pc:spChg>
        <pc:spChg chg="del">
          <ac:chgData name="内山 裕弥" userId="8d34b9d0-ec49-418d-b1de-019cf6b56da5" providerId="ADAL" clId="{EE417D81-9D62-44B5-9A36-43CC1B66E142}" dt="2024-07-19T11:11:43.170" v="9411" actId="21"/>
          <ac:spMkLst>
            <pc:docMk/>
            <pc:sldMk cId="2029142166" sldId="2147378719"/>
            <ac:spMk id="6" creationId="{A8716A6B-6EAA-4A8E-9F4B-40B17BD58816}"/>
          </ac:spMkLst>
        </pc:spChg>
        <pc:spChg chg="add mod">
          <ac:chgData name="内山 裕弥" userId="8d34b9d0-ec49-418d-b1de-019cf6b56da5" providerId="ADAL" clId="{EE417D81-9D62-44B5-9A36-43CC1B66E142}" dt="2024-07-19T11:11:50.763" v="9436" actId="20577"/>
          <ac:spMkLst>
            <pc:docMk/>
            <pc:sldMk cId="2029142166" sldId="2147378719"/>
            <ac:spMk id="7" creationId="{788BF72B-2A40-D353-4A4A-032265572BA3}"/>
          </ac:spMkLst>
        </pc:spChg>
        <pc:graphicFrameChg chg="del">
          <ac:chgData name="内山 裕弥" userId="8d34b9d0-ec49-418d-b1de-019cf6b56da5" providerId="ADAL" clId="{EE417D81-9D62-44B5-9A36-43CC1B66E142}" dt="2024-07-19T11:11:40.318" v="9410" actId="21"/>
          <ac:graphicFrameMkLst>
            <pc:docMk/>
            <pc:sldMk cId="2029142166" sldId="2147378719"/>
            <ac:graphicFrameMk id="2" creationId="{C643ECC8-A3AC-933C-3E81-E0D6449A8658}"/>
          </ac:graphicFrameMkLst>
        </pc:graphicFrameChg>
      </pc:sldChg>
      <pc:sldChg chg="delSp new mod modClrScheme chgLayout">
        <pc:chgData name="内山 裕弥" userId="8d34b9d0-ec49-418d-b1de-019cf6b56da5" providerId="ADAL" clId="{EE417D81-9D62-44B5-9A36-43CC1B66E142}" dt="2024-07-19T11:12:04.522" v="9438" actId="700"/>
        <pc:sldMkLst>
          <pc:docMk/>
          <pc:sldMk cId="2471951817" sldId="2147378720"/>
        </pc:sldMkLst>
        <pc:spChg chg="del">
          <ac:chgData name="内山 裕弥" userId="8d34b9d0-ec49-418d-b1de-019cf6b56da5" providerId="ADAL" clId="{EE417D81-9D62-44B5-9A36-43CC1B66E142}" dt="2024-07-19T11:12:04.522" v="9438" actId="700"/>
          <ac:spMkLst>
            <pc:docMk/>
            <pc:sldMk cId="2471951817" sldId="2147378720"/>
            <ac:spMk id="2" creationId="{702C539A-A362-A7FB-DE15-85D097ED1087}"/>
          </ac:spMkLst>
        </pc:spChg>
        <pc:spChg chg="del">
          <ac:chgData name="内山 裕弥" userId="8d34b9d0-ec49-418d-b1de-019cf6b56da5" providerId="ADAL" clId="{EE417D81-9D62-44B5-9A36-43CC1B66E142}" dt="2024-07-19T11:12:04.522" v="9438" actId="700"/>
          <ac:spMkLst>
            <pc:docMk/>
            <pc:sldMk cId="2471951817" sldId="2147378720"/>
            <ac:spMk id="3" creationId="{3184CF29-4B0B-D5FC-0205-1D38FE6B56D2}"/>
          </ac:spMkLst>
        </pc:spChg>
        <pc:spChg chg="del">
          <ac:chgData name="内山 裕弥" userId="8d34b9d0-ec49-418d-b1de-019cf6b56da5" providerId="ADAL" clId="{EE417D81-9D62-44B5-9A36-43CC1B66E142}" dt="2024-07-19T11:12:04.522" v="9438" actId="700"/>
          <ac:spMkLst>
            <pc:docMk/>
            <pc:sldMk cId="2471951817" sldId="2147378720"/>
            <ac:spMk id="4" creationId="{18157C57-C3BB-9732-EE75-D803475E3F30}"/>
          </ac:spMkLst>
        </pc:spChg>
      </pc:sldChg>
      <pc:sldChg chg="addSp delSp modSp add mod">
        <pc:chgData name="内山 裕弥" userId="8d34b9d0-ec49-418d-b1de-019cf6b56da5" providerId="ADAL" clId="{EE417D81-9D62-44B5-9A36-43CC1B66E142}" dt="2024-07-19T11:14:09.836" v="9807" actId="1076"/>
        <pc:sldMkLst>
          <pc:docMk/>
          <pc:sldMk cId="1590769032" sldId="2147378721"/>
        </pc:sldMkLst>
        <pc:spChg chg="mod">
          <ac:chgData name="内山 裕弥" userId="8d34b9d0-ec49-418d-b1de-019cf6b56da5" providerId="ADAL" clId="{EE417D81-9D62-44B5-9A36-43CC1B66E142}" dt="2024-07-19T11:12:22.130" v="9453" actId="20577"/>
          <ac:spMkLst>
            <pc:docMk/>
            <pc:sldMk cId="1590769032" sldId="2147378721"/>
            <ac:spMk id="4" creationId="{DCD11E60-C345-0156-A89F-36AE8A4A9155}"/>
          </ac:spMkLst>
        </pc:spChg>
        <pc:spChg chg="del">
          <ac:chgData name="内山 裕弥" userId="8d34b9d0-ec49-418d-b1de-019cf6b56da5" providerId="ADAL" clId="{EE417D81-9D62-44B5-9A36-43CC1B66E142}" dt="2024-07-19T11:12:26.937" v="9454" actId="478"/>
          <ac:spMkLst>
            <pc:docMk/>
            <pc:sldMk cId="1590769032" sldId="2147378721"/>
            <ac:spMk id="6" creationId="{A8716A6B-6EAA-4A8E-9F4B-40B17BD58816}"/>
          </ac:spMkLst>
        </pc:spChg>
        <pc:spChg chg="add mod">
          <ac:chgData name="内山 裕弥" userId="8d34b9d0-ec49-418d-b1de-019cf6b56da5" providerId="ADAL" clId="{EE417D81-9D62-44B5-9A36-43CC1B66E142}" dt="2024-07-19T11:14:09.836" v="9807" actId="1076"/>
          <ac:spMkLst>
            <pc:docMk/>
            <pc:sldMk cId="1590769032" sldId="2147378721"/>
            <ac:spMk id="8" creationId="{1F7B5859-1E66-F963-5C70-1C8AFDBB7C58}"/>
          </ac:spMkLst>
        </pc:spChg>
        <pc:graphicFrameChg chg="del">
          <ac:chgData name="内山 裕弥" userId="8d34b9d0-ec49-418d-b1de-019cf6b56da5" providerId="ADAL" clId="{EE417D81-9D62-44B5-9A36-43CC1B66E142}" dt="2024-07-19T11:12:31.713" v="9455" actId="478"/>
          <ac:graphicFrameMkLst>
            <pc:docMk/>
            <pc:sldMk cId="1590769032" sldId="2147378721"/>
            <ac:graphicFrameMk id="2" creationId="{C643ECC8-A3AC-933C-3E81-E0D6449A8658}"/>
          </ac:graphicFrameMkLst>
        </pc:graphicFrameChg>
        <pc:graphicFrameChg chg="add mod modGraphic">
          <ac:chgData name="内山 裕弥" userId="8d34b9d0-ec49-418d-b1de-019cf6b56da5" providerId="ADAL" clId="{EE417D81-9D62-44B5-9A36-43CC1B66E142}" dt="2024-07-19T11:12:44.958" v="9459" actId="207"/>
          <ac:graphicFrameMkLst>
            <pc:docMk/>
            <pc:sldMk cId="1590769032" sldId="2147378721"/>
            <ac:graphicFrameMk id="7" creationId="{D27285E1-CFEC-7133-4B2F-3A60A9DA58C6}"/>
          </ac:graphicFrameMkLst>
        </pc:graphicFrameChg>
      </pc:sldChg>
      <pc:sldMasterChg chg="del delSldLayout">
        <pc:chgData name="内山 裕弥" userId="8d34b9d0-ec49-418d-b1de-019cf6b56da5" providerId="ADAL" clId="{EE417D81-9D62-44B5-9A36-43CC1B66E142}" dt="2024-07-19T04:05:44.908" v="218" actId="2696"/>
        <pc:sldMasterMkLst>
          <pc:docMk/>
          <pc:sldMasterMk cId="2378666199" sldId="2147483681"/>
        </pc:sldMasterMkLst>
        <pc:sldLayoutChg chg="del">
          <pc:chgData name="内山 裕弥" userId="8d34b9d0-ec49-418d-b1de-019cf6b56da5" providerId="ADAL" clId="{EE417D81-9D62-44B5-9A36-43CC1B66E142}" dt="2024-07-19T04:05:44.895" v="213" actId="2696"/>
          <pc:sldLayoutMkLst>
            <pc:docMk/>
            <pc:sldMasterMk cId="2378666199" sldId="2147483681"/>
            <pc:sldLayoutMk cId="2901919220" sldId="2147483682"/>
          </pc:sldLayoutMkLst>
        </pc:sldLayoutChg>
        <pc:sldLayoutChg chg="del">
          <pc:chgData name="内山 裕弥" userId="8d34b9d0-ec49-418d-b1de-019cf6b56da5" providerId="ADAL" clId="{EE417D81-9D62-44B5-9A36-43CC1B66E142}" dt="2024-07-19T04:05:44.898" v="214" actId="2696"/>
          <pc:sldLayoutMkLst>
            <pc:docMk/>
            <pc:sldMasterMk cId="2378666199" sldId="2147483681"/>
            <pc:sldLayoutMk cId="67245665" sldId="2147483684"/>
          </pc:sldLayoutMkLst>
        </pc:sldLayoutChg>
        <pc:sldLayoutChg chg="del">
          <pc:chgData name="内山 裕弥" userId="8d34b9d0-ec49-418d-b1de-019cf6b56da5" providerId="ADAL" clId="{EE417D81-9D62-44B5-9A36-43CC1B66E142}" dt="2024-07-19T04:05:44.902" v="215" actId="2696"/>
          <pc:sldLayoutMkLst>
            <pc:docMk/>
            <pc:sldMasterMk cId="2378666199" sldId="2147483681"/>
            <pc:sldLayoutMk cId="162629755" sldId="2147483693"/>
          </pc:sldLayoutMkLst>
        </pc:sldLayoutChg>
        <pc:sldLayoutChg chg="del">
          <pc:chgData name="内山 裕弥" userId="8d34b9d0-ec49-418d-b1de-019cf6b56da5" providerId="ADAL" clId="{EE417D81-9D62-44B5-9A36-43CC1B66E142}" dt="2024-07-19T04:05:44.904" v="216" actId="2696"/>
          <pc:sldLayoutMkLst>
            <pc:docMk/>
            <pc:sldMasterMk cId="2378666199" sldId="2147483681"/>
            <pc:sldLayoutMk cId="2964629554" sldId="2147483788"/>
          </pc:sldLayoutMkLst>
        </pc:sldLayoutChg>
        <pc:sldLayoutChg chg="del">
          <pc:chgData name="内山 裕弥" userId="8d34b9d0-ec49-418d-b1de-019cf6b56da5" providerId="ADAL" clId="{EE417D81-9D62-44B5-9A36-43CC1B66E142}" dt="2024-07-19T04:05:44.906" v="217" actId="2696"/>
          <pc:sldLayoutMkLst>
            <pc:docMk/>
            <pc:sldMasterMk cId="2378666199" sldId="2147483681"/>
            <pc:sldLayoutMk cId="3424219500" sldId="2147483789"/>
          </pc:sldLayoutMkLst>
        </pc:sldLayoutChg>
      </pc:sldMasterChg>
      <pc:sldMasterChg chg="del delSldLayout">
        <pc:chgData name="内山 裕弥" userId="8d34b9d0-ec49-418d-b1de-019cf6b56da5" providerId="ADAL" clId="{EE417D81-9D62-44B5-9A36-43CC1B66E142}" dt="2024-07-19T04:05:45.881" v="220" actId="2696"/>
        <pc:sldMasterMkLst>
          <pc:docMk/>
          <pc:sldMasterMk cId="1409019568" sldId="2147483714"/>
        </pc:sldMasterMkLst>
        <pc:sldLayoutChg chg="del">
          <pc:chgData name="内山 裕弥" userId="8d34b9d0-ec49-418d-b1de-019cf6b56da5" providerId="ADAL" clId="{EE417D81-9D62-44B5-9A36-43CC1B66E142}" dt="2024-07-19T04:05:45.879" v="219" actId="2696"/>
          <pc:sldLayoutMkLst>
            <pc:docMk/>
            <pc:sldMasterMk cId="1409019568" sldId="2147483714"/>
            <pc:sldLayoutMk cId="1045914008" sldId="2147483809"/>
          </pc:sldLayoutMkLst>
        </pc:sldLayoutChg>
      </pc:sldMasterChg>
      <pc:sldMasterChg chg="del delSldLayout">
        <pc:chgData name="内山 裕弥" userId="8d34b9d0-ec49-418d-b1de-019cf6b56da5" providerId="ADAL" clId="{EE417D81-9D62-44B5-9A36-43CC1B66E142}" dt="2024-07-19T04:05:46.922" v="222" actId="2696"/>
        <pc:sldMasterMkLst>
          <pc:docMk/>
          <pc:sldMasterMk cId="3804727514" sldId="2147483716"/>
        </pc:sldMasterMkLst>
        <pc:sldLayoutChg chg="del">
          <pc:chgData name="内山 裕弥" userId="8d34b9d0-ec49-418d-b1de-019cf6b56da5" providerId="ADAL" clId="{EE417D81-9D62-44B5-9A36-43CC1B66E142}" dt="2024-07-19T04:05:46.918" v="221" actId="2696"/>
          <pc:sldLayoutMkLst>
            <pc:docMk/>
            <pc:sldMasterMk cId="3804727514" sldId="2147483716"/>
            <pc:sldLayoutMk cId="1087610556" sldId="2147483717"/>
          </pc:sldLayoutMkLst>
        </pc:sldLayoutChg>
      </pc:sldMasterChg>
      <pc:sldMasterChg chg="del delSldLayout">
        <pc:chgData name="内山 裕弥" userId="8d34b9d0-ec49-418d-b1de-019cf6b56da5" providerId="ADAL" clId="{EE417D81-9D62-44B5-9A36-43CC1B66E142}" dt="2024-07-19T04:05:43.774" v="212" actId="2696"/>
        <pc:sldMasterMkLst>
          <pc:docMk/>
          <pc:sldMasterMk cId="3265404265" sldId="2147483745"/>
        </pc:sldMasterMkLst>
        <pc:sldLayoutChg chg="del">
          <pc:chgData name="内山 裕弥" userId="8d34b9d0-ec49-418d-b1de-019cf6b56da5" providerId="ADAL" clId="{EE417D81-9D62-44B5-9A36-43CC1B66E142}" dt="2024-07-19T04:05:43.746" v="203" actId="2696"/>
          <pc:sldLayoutMkLst>
            <pc:docMk/>
            <pc:sldMasterMk cId="3265404265" sldId="2147483745"/>
            <pc:sldLayoutMk cId="3114736461" sldId="2147483746"/>
          </pc:sldLayoutMkLst>
        </pc:sldLayoutChg>
        <pc:sldLayoutChg chg="del">
          <pc:chgData name="内山 裕弥" userId="8d34b9d0-ec49-418d-b1de-019cf6b56da5" providerId="ADAL" clId="{EE417D81-9D62-44B5-9A36-43CC1B66E142}" dt="2024-07-19T04:05:43.749" v="204" actId="2696"/>
          <pc:sldLayoutMkLst>
            <pc:docMk/>
            <pc:sldMasterMk cId="3265404265" sldId="2147483745"/>
            <pc:sldLayoutMk cId="2509301793" sldId="2147483747"/>
          </pc:sldLayoutMkLst>
        </pc:sldLayoutChg>
        <pc:sldLayoutChg chg="del">
          <pc:chgData name="内山 裕弥" userId="8d34b9d0-ec49-418d-b1de-019cf6b56da5" providerId="ADAL" clId="{EE417D81-9D62-44B5-9A36-43CC1B66E142}" dt="2024-07-19T04:05:43.751" v="205" actId="2696"/>
          <pc:sldLayoutMkLst>
            <pc:docMk/>
            <pc:sldMasterMk cId="3265404265" sldId="2147483745"/>
            <pc:sldLayoutMk cId="3632430116" sldId="2147483748"/>
          </pc:sldLayoutMkLst>
        </pc:sldLayoutChg>
        <pc:sldLayoutChg chg="del">
          <pc:chgData name="内山 裕弥" userId="8d34b9d0-ec49-418d-b1de-019cf6b56da5" providerId="ADAL" clId="{EE417D81-9D62-44B5-9A36-43CC1B66E142}" dt="2024-07-19T04:05:43.754" v="206" actId="2696"/>
          <pc:sldLayoutMkLst>
            <pc:docMk/>
            <pc:sldMasterMk cId="3265404265" sldId="2147483745"/>
            <pc:sldLayoutMk cId="2384322098" sldId="2147483749"/>
          </pc:sldLayoutMkLst>
        </pc:sldLayoutChg>
        <pc:sldLayoutChg chg="del">
          <pc:chgData name="内山 裕弥" userId="8d34b9d0-ec49-418d-b1de-019cf6b56da5" providerId="ADAL" clId="{EE417D81-9D62-44B5-9A36-43CC1B66E142}" dt="2024-07-19T04:05:43.756" v="207" actId="2696"/>
          <pc:sldLayoutMkLst>
            <pc:docMk/>
            <pc:sldMasterMk cId="3265404265" sldId="2147483745"/>
            <pc:sldLayoutMk cId="4002526101" sldId="2147483750"/>
          </pc:sldLayoutMkLst>
        </pc:sldLayoutChg>
        <pc:sldLayoutChg chg="del">
          <pc:chgData name="内山 裕弥" userId="8d34b9d0-ec49-418d-b1de-019cf6b56da5" providerId="ADAL" clId="{EE417D81-9D62-44B5-9A36-43CC1B66E142}" dt="2024-07-19T04:05:43.759" v="208" actId="2696"/>
          <pc:sldLayoutMkLst>
            <pc:docMk/>
            <pc:sldMasterMk cId="3265404265" sldId="2147483745"/>
            <pc:sldLayoutMk cId="1348462619" sldId="2147483751"/>
          </pc:sldLayoutMkLst>
        </pc:sldLayoutChg>
        <pc:sldLayoutChg chg="del">
          <pc:chgData name="内山 裕弥" userId="8d34b9d0-ec49-418d-b1de-019cf6b56da5" providerId="ADAL" clId="{EE417D81-9D62-44B5-9A36-43CC1B66E142}" dt="2024-07-19T04:05:43.762" v="209" actId="2696"/>
          <pc:sldLayoutMkLst>
            <pc:docMk/>
            <pc:sldMasterMk cId="3265404265" sldId="2147483745"/>
            <pc:sldLayoutMk cId="73333963" sldId="2147483752"/>
          </pc:sldLayoutMkLst>
        </pc:sldLayoutChg>
        <pc:sldLayoutChg chg="del">
          <pc:chgData name="内山 裕弥" userId="8d34b9d0-ec49-418d-b1de-019cf6b56da5" providerId="ADAL" clId="{EE417D81-9D62-44B5-9A36-43CC1B66E142}" dt="2024-07-19T04:05:43.764" v="210" actId="2696"/>
          <pc:sldLayoutMkLst>
            <pc:docMk/>
            <pc:sldMasterMk cId="3265404265" sldId="2147483745"/>
            <pc:sldLayoutMk cId="1450092248" sldId="2147483753"/>
          </pc:sldLayoutMkLst>
        </pc:sldLayoutChg>
        <pc:sldLayoutChg chg="del">
          <pc:chgData name="内山 裕弥" userId="8d34b9d0-ec49-418d-b1de-019cf6b56da5" providerId="ADAL" clId="{EE417D81-9D62-44B5-9A36-43CC1B66E142}" dt="2024-07-19T04:05:43.766" v="211" actId="2696"/>
          <pc:sldLayoutMkLst>
            <pc:docMk/>
            <pc:sldMasterMk cId="3265404265" sldId="2147483745"/>
            <pc:sldLayoutMk cId="510017649" sldId="2147483754"/>
          </pc:sldLayoutMkLst>
        </pc:sldLayoutChg>
      </pc:sldMasterChg>
      <pc:sldMasterChg chg="addSp delSp modSp mod delSldLayout modSldLayout">
        <pc:chgData name="内山 裕弥" userId="8d34b9d0-ec49-418d-b1de-019cf6b56da5" providerId="ADAL" clId="{EE417D81-9D62-44B5-9A36-43CC1B66E142}" dt="2024-07-19T04:06:03.151" v="253" actId="2696"/>
        <pc:sldMasterMkLst>
          <pc:docMk/>
          <pc:sldMasterMk cId="2162003807" sldId="2147483755"/>
        </pc:sldMasterMkLst>
        <pc:spChg chg="add mod">
          <ac:chgData name="内山 裕弥" userId="8d34b9d0-ec49-418d-b1de-019cf6b56da5" providerId="ADAL" clId="{EE417D81-9D62-44B5-9A36-43CC1B66E142}" dt="2024-07-19T04:05:09.404" v="143"/>
          <ac:spMkLst>
            <pc:docMk/>
            <pc:sldMasterMk cId="2162003807" sldId="2147483755"/>
            <ac:spMk id="3" creationId="{87D0FF6D-A520-87F6-851A-32670B6B9442}"/>
          </ac:spMkLst>
        </pc:spChg>
        <pc:spChg chg="del mod">
          <ac:chgData name="内山 裕弥" userId="8d34b9d0-ec49-418d-b1de-019cf6b56da5" providerId="ADAL" clId="{EE417D81-9D62-44B5-9A36-43CC1B66E142}" dt="2024-07-19T04:05:10.604" v="144" actId="21"/>
          <ac:spMkLst>
            <pc:docMk/>
            <pc:sldMasterMk cId="2162003807" sldId="2147483755"/>
            <ac:spMk id="6" creationId="{75B2146D-AFCA-47AF-9929-EFD6AF8CE1A0}"/>
          </ac:spMkLst>
        </pc:spChg>
        <pc:picChg chg="add mod">
          <ac:chgData name="内山 裕弥" userId="8d34b9d0-ec49-418d-b1de-019cf6b56da5" providerId="ADAL" clId="{EE417D81-9D62-44B5-9A36-43CC1B66E142}" dt="2024-07-19T04:05:09.404" v="143"/>
          <ac:picMkLst>
            <pc:docMk/>
            <pc:sldMasterMk cId="2162003807" sldId="2147483755"/>
            <ac:picMk id="4" creationId="{C12C3DD6-97B4-BE5F-B436-9C7F3023ECB5}"/>
          </ac:picMkLst>
        </pc:picChg>
        <pc:sldLayoutChg chg="addSp modSp mod">
          <pc:chgData name="内山 裕弥" userId="8d34b9d0-ec49-418d-b1de-019cf6b56da5" providerId="ADAL" clId="{EE417D81-9D62-44B5-9A36-43CC1B66E142}" dt="2024-07-19T04:05:55.302" v="251"/>
          <pc:sldLayoutMkLst>
            <pc:docMk/>
            <pc:sldMasterMk cId="2162003807" sldId="2147483755"/>
            <pc:sldLayoutMk cId="291536866" sldId="2147483756"/>
          </pc:sldLayoutMkLst>
          <pc:spChg chg="add mod">
            <ac:chgData name="内山 裕弥" userId="8d34b9d0-ec49-418d-b1de-019cf6b56da5" providerId="ADAL" clId="{EE417D81-9D62-44B5-9A36-43CC1B66E142}" dt="2024-07-19T04:05:55.302" v="251"/>
            <ac:spMkLst>
              <pc:docMk/>
              <pc:sldMasterMk cId="2162003807" sldId="2147483755"/>
              <pc:sldLayoutMk cId="291536866" sldId="2147483756"/>
              <ac:spMk id="2" creationId="{A3FB6309-E751-E5DF-C7C2-D7D80856905C}"/>
            </ac:spMkLst>
          </pc:spChg>
          <pc:spChg chg="mod">
            <ac:chgData name="内山 裕弥" userId="8d34b9d0-ec49-418d-b1de-019cf6b56da5" providerId="ADAL" clId="{EE417D81-9D62-44B5-9A36-43CC1B66E142}" dt="2024-07-19T04:05:33.349" v="202" actId="20577"/>
            <ac:spMkLst>
              <pc:docMk/>
              <pc:sldMasterMk cId="2162003807" sldId="2147483755"/>
              <pc:sldLayoutMk cId="291536866" sldId="2147483756"/>
              <ac:spMk id="24" creationId="{00000000-0000-0000-0000-000000000000}"/>
            </ac:spMkLst>
          </pc:spChg>
          <pc:picChg chg="add mod">
            <ac:chgData name="内山 裕弥" userId="8d34b9d0-ec49-418d-b1de-019cf6b56da5" providerId="ADAL" clId="{EE417D81-9D62-44B5-9A36-43CC1B66E142}" dt="2024-07-19T04:05:55.302" v="251"/>
            <ac:picMkLst>
              <pc:docMk/>
              <pc:sldMasterMk cId="2162003807" sldId="2147483755"/>
              <pc:sldLayoutMk cId="291536866" sldId="2147483756"/>
              <ac:picMk id="3" creationId="{98005F8C-E287-4376-1BEE-6B296973F659}"/>
            </ac:picMkLst>
          </pc:picChg>
        </pc:sldLayoutChg>
        <pc:sldLayoutChg chg="del">
          <pc:chgData name="内山 裕弥" userId="8d34b9d0-ec49-418d-b1de-019cf6b56da5" providerId="ADAL" clId="{EE417D81-9D62-44B5-9A36-43CC1B66E142}" dt="2024-07-19T04:06:02.641" v="252" actId="2696"/>
          <pc:sldLayoutMkLst>
            <pc:docMk/>
            <pc:sldMasterMk cId="2162003807" sldId="2147483755"/>
            <pc:sldLayoutMk cId="4158934519" sldId="2147483757"/>
          </pc:sldLayoutMkLst>
        </pc:sldLayoutChg>
        <pc:sldLayoutChg chg="del">
          <pc:chgData name="内山 裕弥" userId="8d34b9d0-ec49-418d-b1de-019cf6b56da5" providerId="ADAL" clId="{EE417D81-9D62-44B5-9A36-43CC1B66E142}" dt="2024-07-19T04:06:03.151" v="253" actId="2696"/>
          <pc:sldLayoutMkLst>
            <pc:docMk/>
            <pc:sldMasterMk cId="2162003807" sldId="2147483755"/>
            <pc:sldLayoutMk cId="3286202414" sldId="2147483758"/>
          </pc:sldLayoutMkLst>
        </pc:sldLayoutChg>
      </pc:sldMasterChg>
      <pc:sldMasterChg chg="del delSldLayout">
        <pc:chgData name="内山 裕弥" userId="8d34b9d0-ec49-418d-b1de-019cf6b56da5" providerId="ADAL" clId="{EE417D81-9D62-44B5-9A36-43CC1B66E142}" dt="2024-07-19T04:05:49.793" v="236" actId="2696"/>
        <pc:sldMasterMkLst>
          <pc:docMk/>
          <pc:sldMasterMk cId="1657818025" sldId="2147483774"/>
        </pc:sldMasterMkLst>
        <pc:sldLayoutChg chg="del">
          <pc:chgData name="内山 裕弥" userId="8d34b9d0-ec49-418d-b1de-019cf6b56da5" providerId="ADAL" clId="{EE417D81-9D62-44B5-9A36-43CC1B66E142}" dt="2024-07-19T04:05:49.751" v="223" actId="2696"/>
          <pc:sldLayoutMkLst>
            <pc:docMk/>
            <pc:sldMasterMk cId="1657818025" sldId="2147483774"/>
            <pc:sldLayoutMk cId="2298188456" sldId="2147483775"/>
          </pc:sldLayoutMkLst>
        </pc:sldLayoutChg>
        <pc:sldLayoutChg chg="del">
          <pc:chgData name="内山 裕弥" userId="8d34b9d0-ec49-418d-b1de-019cf6b56da5" providerId="ADAL" clId="{EE417D81-9D62-44B5-9A36-43CC1B66E142}" dt="2024-07-19T04:05:49.754" v="224" actId="2696"/>
          <pc:sldLayoutMkLst>
            <pc:docMk/>
            <pc:sldMasterMk cId="1657818025" sldId="2147483774"/>
            <pc:sldLayoutMk cId="4292109827" sldId="2147483776"/>
          </pc:sldLayoutMkLst>
        </pc:sldLayoutChg>
        <pc:sldLayoutChg chg="del">
          <pc:chgData name="内山 裕弥" userId="8d34b9d0-ec49-418d-b1de-019cf6b56da5" providerId="ADAL" clId="{EE417D81-9D62-44B5-9A36-43CC1B66E142}" dt="2024-07-19T04:05:49.758" v="225" actId="2696"/>
          <pc:sldLayoutMkLst>
            <pc:docMk/>
            <pc:sldMasterMk cId="1657818025" sldId="2147483774"/>
            <pc:sldLayoutMk cId="2936517992" sldId="2147483777"/>
          </pc:sldLayoutMkLst>
        </pc:sldLayoutChg>
        <pc:sldLayoutChg chg="del">
          <pc:chgData name="内山 裕弥" userId="8d34b9d0-ec49-418d-b1de-019cf6b56da5" providerId="ADAL" clId="{EE417D81-9D62-44B5-9A36-43CC1B66E142}" dt="2024-07-19T04:05:49.761" v="226" actId="2696"/>
          <pc:sldLayoutMkLst>
            <pc:docMk/>
            <pc:sldMasterMk cId="1657818025" sldId="2147483774"/>
            <pc:sldLayoutMk cId="137738386" sldId="2147483778"/>
          </pc:sldLayoutMkLst>
        </pc:sldLayoutChg>
        <pc:sldLayoutChg chg="del">
          <pc:chgData name="内山 裕弥" userId="8d34b9d0-ec49-418d-b1de-019cf6b56da5" providerId="ADAL" clId="{EE417D81-9D62-44B5-9A36-43CC1B66E142}" dt="2024-07-19T04:05:49.764" v="227" actId="2696"/>
          <pc:sldLayoutMkLst>
            <pc:docMk/>
            <pc:sldMasterMk cId="1657818025" sldId="2147483774"/>
            <pc:sldLayoutMk cId="585607159" sldId="2147483779"/>
          </pc:sldLayoutMkLst>
        </pc:sldLayoutChg>
        <pc:sldLayoutChg chg="del">
          <pc:chgData name="内山 裕弥" userId="8d34b9d0-ec49-418d-b1de-019cf6b56da5" providerId="ADAL" clId="{EE417D81-9D62-44B5-9A36-43CC1B66E142}" dt="2024-07-19T04:05:49.766" v="228" actId="2696"/>
          <pc:sldLayoutMkLst>
            <pc:docMk/>
            <pc:sldMasterMk cId="1657818025" sldId="2147483774"/>
            <pc:sldLayoutMk cId="3827882261" sldId="2147483780"/>
          </pc:sldLayoutMkLst>
        </pc:sldLayoutChg>
        <pc:sldLayoutChg chg="del">
          <pc:chgData name="内山 裕弥" userId="8d34b9d0-ec49-418d-b1de-019cf6b56da5" providerId="ADAL" clId="{EE417D81-9D62-44B5-9A36-43CC1B66E142}" dt="2024-07-19T04:05:49.768" v="229" actId="2696"/>
          <pc:sldLayoutMkLst>
            <pc:docMk/>
            <pc:sldMasterMk cId="1657818025" sldId="2147483774"/>
            <pc:sldLayoutMk cId="2819582620" sldId="2147483781"/>
          </pc:sldLayoutMkLst>
        </pc:sldLayoutChg>
        <pc:sldLayoutChg chg="del">
          <pc:chgData name="内山 裕弥" userId="8d34b9d0-ec49-418d-b1de-019cf6b56da5" providerId="ADAL" clId="{EE417D81-9D62-44B5-9A36-43CC1B66E142}" dt="2024-07-19T04:05:49.772" v="230" actId="2696"/>
          <pc:sldLayoutMkLst>
            <pc:docMk/>
            <pc:sldMasterMk cId="1657818025" sldId="2147483774"/>
            <pc:sldLayoutMk cId="2698601596" sldId="2147483782"/>
          </pc:sldLayoutMkLst>
        </pc:sldLayoutChg>
        <pc:sldLayoutChg chg="del">
          <pc:chgData name="内山 裕弥" userId="8d34b9d0-ec49-418d-b1de-019cf6b56da5" providerId="ADAL" clId="{EE417D81-9D62-44B5-9A36-43CC1B66E142}" dt="2024-07-19T04:05:49.774" v="231" actId="2696"/>
          <pc:sldLayoutMkLst>
            <pc:docMk/>
            <pc:sldMasterMk cId="1657818025" sldId="2147483774"/>
            <pc:sldLayoutMk cId="2235022082" sldId="2147483783"/>
          </pc:sldLayoutMkLst>
        </pc:sldLayoutChg>
        <pc:sldLayoutChg chg="del">
          <pc:chgData name="内山 裕弥" userId="8d34b9d0-ec49-418d-b1de-019cf6b56da5" providerId="ADAL" clId="{EE417D81-9D62-44B5-9A36-43CC1B66E142}" dt="2024-07-19T04:05:49.777" v="232" actId="2696"/>
          <pc:sldLayoutMkLst>
            <pc:docMk/>
            <pc:sldMasterMk cId="1657818025" sldId="2147483774"/>
            <pc:sldLayoutMk cId="3948903752" sldId="2147483784"/>
          </pc:sldLayoutMkLst>
        </pc:sldLayoutChg>
        <pc:sldLayoutChg chg="del">
          <pc:chgData name="内山 裕弥" userId="8d34b9d0-ec49-418d-b1de-019cf6b56da5" providerId="ADAL" clId="{EE417D81-9D62-44B5-9A36-43CC1B66E142}" dt="2024-07-19T04:05:49.780" v="233" actId="2696"/>
          <pc:sldLayoutMkLst>
            <pc:docMk/>
            <pc:sldMasterMk cId="1657818025" sldId="2147483774"/>
            <pc:sldLayoutMk cId="3370459686" sldId="2147483785"/>
          </pc:sldLayoutMkLst>
        </pc:sldLayoutChg>
        <pc:sldLayoutChg chg="del">
          <pc:chgData name="内山 裕弥" userId="8d34b9d0-ec49-418d-b1de-019cf6b56da5" providerId="ADAL" clId="{EE417D81-9D62-44B5-9A36-43CC1B66E142}" dt="2024-07-19T04:05:49.782" v="234" actId="2696"/>
          <pc:sldLayoutMkLst>
            <pc:docMk/>
            <pc:sldMasterMk cId="1657818025" sldId="2147483774"/>
            <pc:sldLayoutMk cId="1988775701" sldId="2147483786"/>
          </pc:sldLayoutMkLst>
        </pc:sldLayoutChg>
        <pc:sldLayoutChg chg="del">
          <pc:chgData name="内山 裕弥" userId="8d34b9d0-ec49-418d-b1de-019cf6b56da5" providerId="ADAL" clId="{EE417D81-9D62-44B5-9A36-43CC1B66E142}" dt="2024-07-19T04:05:49.785" v="235" actId="2696"/>
          <pc:sldLayoutMkLst>
            <pc:docMk/>
            <pc:sldMasterMk cId="1657818025" sldId="2147483774"/>
            <pc:sldLayoutMk cId="2881629326" sldId="2147483787"/>
          </pc:sldLayoutMkLst>
        </pc:sldLayoutChg>
      </pc:sldMasterChg>
      <pc:sldMasterChg chg="del delSldLayout">
        <pc:chgData name="内山 裕弥" userId="8d34b9d0-ec49-418d-b1de-019cf6b56da5" providerId="ADAL" clId="{EE417D81-9D62-44B5-9A36-43CC1B66E142}" dt="2024-07-19T04:05:50.793" v="250" actId="2696"/>
        <pc:sldMasterMkLst>
          <pc:docMk/>
          <pc:sldMasterMk cId="1323487226" sldId="2147483794"/>
        </pc:sldMasterMkLst>
        <pc:sldLayoutChg chg="del">
          <pc:chgData name="内山 裕弥" userId="8d34b9d0-ec49-418d-b1de-019cf6b56da5" providerId="ADAL" clId="{EE417D81-9D62-44B5-9A36-43CC1B66E142}" dt="2024-07-19T04:05:50.729" v="237" actId="2696"/>
          <pc:sldLayoutMkLst>
            <pc:docMk/>
            <pc:sldMasterMk cId="1323487226" sldId="2147483794"/>
            <pc:sldLayoutMk cId="3198547896" sldId="2147483795"/>
          </pc:sldLayoutMkLst>
        </pc:sldLayoutChg>
        <pc:sldLayoutChg chg="del">
          <pc:chgData name="内山 裕弥" userId="8d34b9d0-ec49-418d-b1de-019cf6b56da5" providerId="ADAL" clId="{EE417D81-9D62-44B5-9A36-43CC1B66E142}" dt="2024-07-19T04:05:50.732" v="238" actId="2696"/>
          <pc:sldLayoutMkLst>
            <pc:docMk/>
            <pc:sldMasterMk cId="1323487226" sldId="2147483794"/>
            <pc:sldLayoutMk cId="4201963330" sldId="2147483796"/>
          </pc:sldLayoutMkLst>
        </pc:sldLayoutChg>
        <pc:sldLayoutChg chg="del">
          <pc:chgData name="内山 裕弥" userId="8d34b9d0-ec49-418d-b1de-019cf6b56da5" providerId="ADAL" clId="{EE417D81-9D62-44B5-9A36-43CC1B66E142}" dt="2024-07-19T04:05:50.736" v="239" actId="2696"/>
          <pc:sldLayoutMkLst>
            <pc:docMk/>
            <pc:sldMasterMk cId="1323487226" sldId="2147483794"/>
            <pc:sldLayoutMk cId="3747134652" sldId="2147483797"/>
          </pc:sldLayoutMkLst>
        </pc:sldLayoutChg>
        <pc:sldLayoutChg chg="del">
          <pc:chgData name="内山 裕弥" userId="8d34b9d0-ec49-418d-b1de-019cf6b56da5" providerId="ADAL" clId="{EE417D81-9D62-44B5-9A36-43CC1B66E142}" dt="2024-07-19T04:05:50.765" v="240" actId="2696"/>
          <pc:sldLayoutMkLst>
            <pc:docMk/>
            <pc:sldMasterMk cId="1323487226" sldId="2147483794"/>
            <pc:sldLayoutMk cId="2373699153" sldId="2147483798"/>
          </pc:sldLayoutMkLst>
        </pc:sldLayoutChg>
        <pc:sldLayoutChg chg="del">
          <pc:chgData name="内山 裕弥" userId="8d34b9d0-ec49-418d-b1de-019cf6b56da5" providerId="ADAL" clId="{EE417D81-9D62-44B5-9A36-43CC1B66E142}" dt="2024-07-19T04:05:50.770" v="241" actId="2696"/>
          <pc:sldLayoutMkLst>
            <pc:docMk/>
            <pc:sldMasterMk cId="1323487226" sldId="2147483794"/>
            <pc:sldLayoutMk cId="3924135083" sldId="2147483799"/>
          </pc:sldLayoutMkLst>
        </pc:sldLayoutChg>
        <pc:sldLayoutChg chg="del">
          <pc:chgData name="内山 裕弥" userId="8d34b9d0-ec49-418d-b1de-019cf6b56da5" providerId="ADAL" clId="{EE417D81-9D62-44B5-9A36-43CC1B66E142}" dt="2024-07-19T04:05:50.772" v="242" actId="2696"/>
          <pc:sldLayoutMkLst>
            <pc:docMk/>
            <pc:sldMasterMk cId="1323487226" sldId="2147483794"/>
            <pc:sldLayoutMk cId="2821489798" sldId="2147483800"/>
          </pc:sldLayoutMkLst>
        </pc:sldLayoutChg>
        <pc:sldLayoutChg chg="del">
          <pc:chgData name="内山 裕弥" userId="8d34b9d0-ec49-418d-b1de-019cf6b56da5" providerId="ADAL" clId="{EE417D81-9D62-44B5-9A36-43CC1B66E142}" dt="2024-07-19T04:05:50.774" v="243" actId="2696"/>
          <pc:sldLayoutMkLst>
            <pc:docMk/>
            <pc:sldMasterMk cId="1323487226" sldId="2147483794"/>
            <pc:sldLayoutMk cId="1854283866" sldId="2147483801"/>
          </pc:sldLayoutMkLst>
        </pc:sldLayoutChg>
        <pc:sldLayoutChg chg="del">
          <pc:chgData name="内山 裕弥" userId="8d34b9d0-ec49-418d-b1de-019cf6b56da5" providerId="ADAL" clId="{EE417D81-9D62-44B5-9A36-43CC1B66E142}" dt="2024-07-19T04:05:50.777" v="244" actId="2696"/>
          <pc:sldLayoutMkLst>
            <pc:docMk/>
            <pc:sldMasterMk cId="1323487226" sldId="2147483794"/>
            <pc:sldLayoutMk cId="1086763629" sldId="2147483802"/>
          </pc:sldLayoutMkLst>
        </pc:sldLayoutChg>
        <pc:sldLayoutChg chg="del">
          <pc:chgData name="内山 裕弥" userId="8d34b9d0-ec49-418d-b1de-019cf6b56da5" providerId="ADAL" clId="{EE417D81-9D62-44B5-9A36-43CC1B66E142}" dt="2024-07-19T04:05:50.779" v="245" actId="2696"/>
          <pc:sldLayoutMkLst>
            <pc:docMk/>
            <pc:sldMasterMk cId="1323487226" sldId="2147483794"/>
            <pc:sldLayoutMk cId="2096497774" sldId="2147483803"/>
          </pc:sldLayoutMkLst>
        </pc:sldLayoutChg>
        <pc:sldLayoutChg chg="del">
          <pc:chgData name="内山 裕弥" userId="8d34b9d0-ec49-418d-b1de-019cf6b56da5" providerId="ADAL" clId="{EE417D81-9D62-44B5-9A36-43CC1B66E142}" dt="2024-07-19T04:05:50.783" v="246" actId="2696"/>
          <pc:sldLayoutMkLst>
            <pc:docMk/>
            <pc:sldMasterMk cId="1323487226" sldId="2147483794"/>
            <pc:sldLayoutMk cId="2773940887" sldId="2147483804"/>
          </pc:sldLayoutMkLst>
        </pc:sldLayoutChg>
        <pc:sldLayoutChg chg="del">
          <pc:chgData name="内山 裕弥" userId="8d34b9d0-ec49-418d-b1de-019cf6b56da5" providerId="ADAL" clId="{EE417D81-9D62-44B5-9A36-43CC1B66E142}" dt="2024-07-19T04:05:50.786" v="247" actId="2696"/>
          <pc:sldLayoutMkLst>
            <pc:docMk/>
            <pc:sldMasterMk cId="1323487226" sldId="2147483794"/>
            <pc:sldLayoutMk cId="3663685616" sldId="2147483805"/>
          </pc:sldLayoutMkLst>
        </pc:sldLayoutChg>
        <pc:sldLayoutChg chg="del">
          <pc:chgData name="内山 裕弥" userId="8d34b9d0-ec49-418d-b1de-019cf6b56da5" providerId="ADAL" clId="{EE417D81-9D62-44B5-9A36-43CC1B66E142}" dt="2024-07-19T04:05:50.788" v="248" actId="2696"/>
          <pc:sldLayoutMkLst>
            <pc:docMk/>
            <pc:sldMasterMk cId="1323487226" sldId="2147483794"/>
            <pc:sldLayoutMk cId="2500790750" sldId="2147483806"/>
          </pc:sldLayoutMkLst>
        </pc:sldLayoutChg>
        <pc:sldLayoutChg chg="del">
          <pc:chgData name="内山 裕弥" userId="8d34b9d0-ec49-418d-b1de-019cf6b56da5" providerId="ADAL" clId="{EE417D81-9D62-44B5-9A36-43CC1B66E142}" dt="2024-07-19T04:05:50.790" v="249" actId="2696"/>
          <pc:sldLayoutMkLst>
            <pc:docMk/>
            <pc:sldMasterMk cId="1323487226" sldId="2147483794"/>
            <pc:sldLayoutMk cId="716948760" sldId="2147483807"/>
          </pc:sldLayoutMkLst>
        </pc:sldLayoutChg>
      </pc:sldMasterChg>
    </pc:docChg>
  </pc:docChgLst>
  <pc:docChgLst>
    <pc:chgData name="神谷 聖二" userId="S::seiji.kamiya@tk.pacific.co.jp::517b2053-71b1-4492-bbd9-c8e4b39141e4" providerId="AD" clId="Web-{A02C984D-0D1C-ED7B-E875-D996E51A1E0C}"/>
    <pc:docChg chg="modSld">
      <pc:chgData name="神谷 聖二" userId="S::seiji.kamiya@tk.pacific.co.jp::517b2053-71b1-4492-bbd9-c8e4b39141e4" providerId="AD" clId="Web-{A02C984D-0D1C-ED7B-E875-D996E51A1E0C}" dt="2024-07-12T07:41:05.158" v="1" actId="14100"/>
      <pc:docMkLst>
        <pc:docMk/>
      </pc:docMkLst>
      <pc:sldChg chg="modSp">
        <pc:chgData name="神谷 聖二" userId="S::seiji.kamiya@tk.pacific.co.jp::517b2053-71b1-4492-bbd9-c8e4b39141e4" providerId="AD" clId="Web-{A02C984D-0D1C-ED7B-E875-D996E51A1E0C}" dt="2024-07-12T07:39:58.671" v="0" actId="14100"/>
        <pc:sldMkLst>
          <pc:docMk/>
          <pc:sldMk cId="355750652" sldId="2147378708"/>
        </pc:sldMkLst>
        <pc:spChg chg="mod">
          <ac:chgData name="神谷 聖二" userId="S::seiji.kamiya@tk.pacific.co.jp::517b2053-71b1-4492-bbd9-c8e4b39141e4" providerId="AD" clId="Web-{A02C984D-0D1C-ED7B-E875-D996E51A1E0C}" dt="2024-07-12T07:39:58.671" v="0" actId="14100"/>
          <ac:spMkLst>
            <pc:docMk/>
            <pc:sldMk cId="355750652" sldId="2147378708"/>
            <ac:spMk id="6" creationId="{A8716A6B-6EAA-4A8E-9F4B-40B17BD58816}"/>
          </ac:spMkLst>
        </pc:spChg>
      </pc:sldChg>
      <pc:sldChg chg="modSp">
        <pc:chgData name="神谷 聖二" userId="S::seiji.kamiya@tk.pacific.co.jp::517b2053-71b1-4492-bbd9-c8e4b39141e4" providerId="AD" clId="Web-{A02C984D-0D1C-ED7B-E875-D996E51A1E0C}" dt="2024-07-12T07:41:05.158" v="1" actId="14100"/>
        <pc:sldMkLst>
          <pc:docMk/>
          <pc:sldMk cId="3497080636" sldId="2147378710"/>
        </pc:sldMkLst>
        <pc:picChg chg="mod">
          <ac:chgData name="神谷 聖二" userId="S::seiji.kamiya@tk.pacific.co.jp::517b2053-71b1-4492-bbd9-c8e4b39141e4" providerId="AD" clId="Web-{A02C984D-0D1C-ED7B-E875-D996E51A1E0C}" dt="2024-07-12T07:41:05.158" v="1" actId="14100"/>
          <ac:picMkLst>
            <pc:docMk/>
            <pc:sldMk cId="3497080636" sldId="2147378710"/>
            <ac:picMk id="9" creationId="{E49B5309-848C-8288-7894-63BF86CA0951}"/>
          </ac:picMkLst>
        </pc:picChg>
      </pc:sldChg>
    </pc:docChg>
  </pc:docChgLst>
  <pc:docChgLst>
    <pc:chgData name="丁野 光理" userId="53361c9a-10d0-4268-b39c-a1f4044b33f4" providerId="ADAL" clId="{57EE16B9-CF89-4026-86BA-0D6F998866C2}"/>
    <pc:docChg chg="modMainMaster">
      <pc:chgData name="丁野 光理" userId="53361c9a-10d0-4268-b39c-a1f4044b33f4" providerId="ADAL" clId="{57EE16B9-CF89-4026-86BA-0D6F998866C2}" dt="2025-02-10T05:25:09.885" v="45"/>
      <pc:docMkLst>
        <pc:docMk/>
      </pc:docMkLst>
      <pc:sldMasterChg chg="modSldLayout">
        <pc:chgData name="丁野 光理" userId="53361c9a-10d0-4268-b39c-a1f4044b33f4" providerId="ADAL" clId="{57EE16B9-CF89-4026-86BA-0D6F998866C2}" dt="2025-02-10T05:25:09.885" v="45"/>
        <pc:sldMasterMkLst>
          <pc:docMk/>
          <pc:sldMasterMk cId="2162003807" sldId="2147483755"/>
        </pc:sldMasterMkLst>
        <pc:sldLayoutChg chg="modSp mod">
          <pc:chgData name="丁野 光理" userId="53361c9a-10d0-4268-b39c-a1f4044b33f4" providerId="ADAL" clId="{57EE16B9-CF89-4026-86BA-0D6F998866C2}" dt="2025-02-10T05:25:09.885" v="45"/>
          <pc:sldLayoutMkLst>
            <pc:docMk/>
            <pc:sldMasterMk cId="2162003807" sldId="2147483755"/>
            <pc:sldLayoutMk cId="291536866" sldId="2147483756"/>
          </pc:sldLayoutMkLst>
          <pc:spChg chg="mod">
            <ac:chgData name="丁野 光理" userId="53361c9a-10d0-4268-b39c-a1f4044b33f4" providerId="ADAL" clId="{57EE16B9-CF89-4026-86BA-0D6F998866C2}" dt="2025-02-10T05:25:07.366" v="40"/>
            <ac:spMkLst>
              <pc:docMk/>
              <pc:sldMasterMk cId="2162003807" sldId="2147483755"/>
              <pc:sldLayoutMk cId="291536866" sldId="2147483756"/>
              <ac:spMk id="23" creationId="{00000000-0000-0000-0000-000000000000}"/>
            </ac:spMkLst>
          </pc:spChg>
          <pc:spChg chg="mod">
            <ac:chgData name="丁野 光理" userId="53361c9a-10d0-4268-b39c-a1f4044b33f4" providerId="ADAL" clId="{57EE16B9-CF89-4026-86BA-0D6F998866C2}" dt="2025-02-10T05:25:09.885" v="45"/>
            <ac:spMkLst>
              <pc:docMk/>
              <pc:sldMasterMk cId="2162003807" sldId="2147483755"/>
              <pc:sldLayoutMk cId="291536866" sldId="2147483756"/>
              <ac:spMk id="24" creationId="{00000000-0000-0000-0000-000000000000}"/>
            </ac:spMkLst>
          </pc:spChg>
        </pc:sldLayoutChg>
      </pc:sldMasterChg>
    </pc:docChg>
  </pc:docChgLst>
  <pc:docChgLst>
    <pc:chgData name="丁野 光理" userId="53361c9a-10d0-4268-b39c-a1f4044b33f4" providerId="ADAL" clId="{ED423192-B5F0-49D8-A24B-558420AFB790}"/>
    <pc:docChg chg="custSel modSld">
      <pc:chgData name="丁野 光理" userId="53361c9a-10d0-4268-b39c-a1f4044b33f4" providerId="ADAL" clId="{ED423192-B5F0-49D8-A24B-558420AFB790}" dt="2025-01-31T12:36:27.197" v="1144" actId="20577"/>
      <pc:docMkLst>
        <pc:docMk/>
      </pc:docMkLst>
      <pc:sldChg chg="modSp mod">
        <pc:chgData name="丁野 光理" userId="53361c9a-10d0-4268-b39c-a1f4044b33f4" providerId="ADAL" clId="{ED423192-B5F0-49D8-A24B-558420AFB790}" dt="2025-01-31T12:36:27.197" v="1144" actId="20577"/>
        <pc:sldMkLst>
          <pc:docMk/>
          <pc:sldMk cId="3369047166" sldId="2147378723"/>
        </pc:sldMkLst>
        <pc:graphicFrameChg chg="mod modGraphic">
          <ac:chgData name="丁野 光理" userId="53361c9a-10d0-4268-b39c-a1f4044b33f4" providerId="ADAL" clId="{ED423192-B5F0-49D8-A24B-558420AFB790}" dt="2025-01-31T12:36:27.197" v="1144" actId="20577"/>
          <ac:graphicFrameMkLst>
            <pc:docMk/>
            <pc:sldMk cId="3369047166" sldId="2147378723"/>
            <ac:graphicFrameMk id="7" creationId="{51BF938D-C177-A844-2103-F1E47DDCCCB9}"/>
          </ac:graphicFrameMkLst>
        </pc:graphicFrameChg>
      </pc:sldChg>
      <pc:sldChg chg="modSp mod">
        <pc:chgData name="丁野 光理" userId="53361c9a-10d0-4268-b39c-a1f4044b33f4" providerId="ADAL" clId="{ED423192-B5F0-49D8-A24B-558420AFB790}" dt="2025-01-31T12:35:32.645" v="1074" actId="20577"/>
        <pc:sldMkLst>
          <pc:docMk/>
          <pc:sldMk cId="244108044" sldId="2147378728"/>
        </pc:sldMkLst>
        <pc:spChg chg="mod">
          <ac:chgData name="丁野 光理" userId="53361c9a-10d0-4268-b39c-a1f4044b33f4" providerId="ADAL" clId="{ED423192-B5F0-49D8-A24B-558420AFB790}" dt="2025-01-31T12:32:55.842" v="942"/>
          <ac:spMkLst>
            <pc:docMk/>
            <pc:sldMk cId="244108044" sldId="2147378728"/>
            <ac:spMk id="2" creationId="{02EB99B5-F15E-5918-8C4B-95B5DE8DC4E4}"/>
          </ac:spMkLst>
        </pc:spChg>
        <pc:graphicFrameChg chg="mod modGraphic">
          <ac:chgData name="丁野 光理" userId="53361c9a-10d0-4268-b39c-a1f4044b33f4" providerId="ADAL" clId="{ED423192-B5F0-49D8-A24B-558420AFB790}" dt="2025-01-31T12:35:32.645" v="1074" actId="20577"/>
          <ac:graphicFrameMkLst>
            <pc:docMk/>
            <pc:sldMk cId="244108044" sldId="2147378728"/>
            <ac:graphicFrameMk id="7" creationId="{51BF938D-C177-A844-2103-F1E47DDCCCB9}"/>
          </ac:graphicFrameMkLst>
        </pc:graphicFrameChg>
      </pc:sldChg>
    </pc:docChg>
  </pc:docChgLst>
  <pc:docChgLst>
    <pc:chgData name="神谷 聖二" userId="S::seiji.kamiya@tk.pacific.co.jp::517b2053-71b1-4492-bbd9-c8e4b39141e4" providerId="AD" clId="Web-{10E9C132-6434-60A9-D26D-5164A43979F1}"/>
    <pc:docChg chg="modSld">
      <pc:chgData name="神谷 聖二" userId="S::seiji.kamiya@tk.pacific.co.jp::517b2053-71b1-4492-bbd9-c8e4b39141e4" providerId="AD" clId="Web-{10E9C132-6434-60A9-D26D-5164A43979F1}" dt="2024-07-12T07:18:07.857" v="0" actId="14100"/>
      <pc:docMkLst>
        <pc:docMk/>
      </pc:docMkLst>
      <pc:sldChg chg="modSp">
        <pc:chgData name="神谷 聖二" userId="S::seiji.kamiya@tk.pacific.co.jp::517b2053-71b1-4492-bbd9-c8e4b39141e4" providerId="AD" clId="Web-{10E9C132-6434-60A9-D26D-5164A43979F1}" dt="2024-07-12T07:18:07.857" v="0" actId="14100"/>
        <pc:sldMkLst>
          <pc:docMk/>
          <pc:sldMk cId="1245055399" sldId="2147378653"/>
        </pc:sldMkLst>
        <pc:spChg chg="mod">
          <ac:chgData name="神谷 聖二" userId="S::seiji.kamiya@tk.pacific.co.jp::517b2053-71b1-4492-bbd9-c8e4b39141e4" providerId="AD" clId="Web-{10E9C132-6434-60A9-D26D-5164A43979F1}" dt="2024-07-12T07:18:07.857" v="0" actId="14100"/>
          <ac:spMkLst>
            <pc:docMk/>
            <pc:sldMk cId="1245055399" sldId="2147378653"/>
            <ac:spMk id="9" creationId="{B79A90FB-8F87-BD8C-CDDB-781282C516A5}"/>
          </ac:spMkLst>
        </pc:spChg>
      </pc:sldChg>
    </pc:docChg>
  </pc:docChgLst>
  <pc:docChgLst>
    <pc:chgData name="丁野 光理" userId="53361c9a-10d0-4268-b39c-a1f4044b33f4" providerId="ADAL" clId="{5877DFAC-9C98-43E6-A261-9723BFE34FAA}"/>
    <pc:docChg chg="custSel addSld delSld modSld modMainMaster delSection modSection">
      <pc:chgData name="丁野 光理" userId="53361c9a-10d0-4268-b39c-a1f4044b33f4" providerId="ADAL" clId="{5877DFAC-9C98-43E6-A261-9723BFE34FAA}" dt="2025-01-31T11:08:48.611" v="872" actId="2164"/>
      <pc:docMkLst>
        <pc:docMk/>
      </pc:docMkLst>
      <pc:sldChg chg="del">
        <pc:chgData name="丁野 光理" userId="53361c9a-10d0-4268-b39c-a1f4044b33f4" providerId="ADAL" clId="{5877DFAC-9C98-43E6-A261-9723BFE34FAA}" dt="2025-01-29T12:27:39.190" v="0" actId="47"/>
        <pc:sldMkLst>
          <pc:docMk/>
          <pc:sldMk cId="2355786622" sldId="2146847413"/>
        </pc:sldMkLst>
      </pc:sldChg>
      <pc:sldChg chg="del">
        <pc:chgData name="丁野 光理" userId="53361c9a-10d0-4268-b39c-a1f4044b33f4" providerId="ADAL" clId="{5877DFAC-9C98-43E6-A261-9723BFE34FAA}" dt="2025-01-29T12:27:40.900" v="13" actId="47"/>
        <pc:sldMkLst>
          <pc:docMk/>
          <pc:sldMk cId="2852443830" sldId="2147378632"/>
        </pc:sldMkLst>
      </pc:sldChg>
      <pc:sldChg chg="del">
        <pc:chgData name="丁野 光理" userId="53361c9a-10d0-4268-b39c-a1f4044b33f4" providerId="ADAL" clId="{5877DFAC-9C98-43E6-A261-9723BFE34FAA}" dt="2025-01-29T12:27:39.478" v="2" actId="47"/>
        <pc:sldMkLst>
          <pc:docMk/>
          <pc:sldMk cId="1869527861" sldId="2147378640"/>
        </pc:sldMkLst>
      </pc:sldChg>
      <pc:sldChg chg="del">
        <pc:chgData name="丁野 光理" userId="53361c9a-10d0-4268-b39c-a1f4044b33f4" providerId="ADAL" clId="{5877DFAC-9C98-43E6-A261-9723BFE34FAA}" dt="2025-01-29T12:27:40.749" v="12" actId="47"/>
        <pc:sldMkLst>
          <pc:docMk/>
          <pc:sldMk cId="2854292604" sldId="2147378652"/>
        </pc:sldMkLst>
      </pc:sldChg>
      <pc:sldChg chg="del">
        <pc:chgData name="丁野 光理" userId="53361c9a-10d0-4268-b39c-a1f4044b33f4" providerId="ADAL" clId="{5877DFAC-9C98-43E6-A261-9723BFE34FAA}" dt="2025-01-29T12:27:42.300" v="21" actId="47"/>
        <pc:sldMkLst>
          <pc:docMk/>
          <pc:sldMk cId="1245055399" sldId="2147378653"/>
        </pc:sldMkLst>
      </pc:sldChg>
      <pc:sldChg chg="del">
        <pc:chgData name="丁野 光理" userId="53361c9a-10d0-4268-b39c-a1f4044b33f4" providerId="ADAL" clId="{5877DFAC-9C98-43E6-A261-9723BFE34FAA}" dt="2025-01-29T12:27:42.629" v="30" actId="47"/>
        <pc:sldMkLst>
          <pc:docMk/>
          <pc:sldMk cId="1786860980" sldId="2147378654"/>
        </pc:sldMkLst>
      </pc:sldChg>
      <pc:sldChg chg="del">
        <pc:chgData name="丁野 光理" userId="53361c9a-10d0-4268-b39c-a1f4044b33f4" providerId="ADAL" clId="{5877DFAC-9C98-43E6-A261-9723BFE34FAA}" dt="2025-01-29T12:27:39.350" v="1" actId="47"/>
        <pc:sldMkLst>
          <pc:docMk/>
          <pc:sldMk cId="1132711422" sldId="2147378657"/>
        </pc:sldMkLst>
      </pc:sldChg>
      <pc:sldChg chg="del">
        <pc:chgData name="丁野 光理" userId="53361c9a-10d0-4268-b39c-a1f4044b33f4" providerId="ADAL" clId="{5877DFAC-9C98-43E6-A261-9723BFE34FAA}" dt="2025-01-29T12:27:39.599" v="3" actId="47"/>
        <pc:sldMkLst>
          <pc:docMk/>
          <pc:sldMk cId="2948473411" sldId="2147378680"/>
        </pc:sldMkLst>
      </pc:sldChg>
      <pc:sldChg chg="del">
        <pc:chgData name="丁野 光理" userId="53361c9a-10d0-4268-b39c-a1f4044b33f4" providerId="ADAL" clId="{5877DFAC-9C98-43E6-A261-9723BFE34FAA}" dt="2025-01-29T12:27:39.756" v="4" actId="47"/>
        <pc:sldMkLst>
          <pc:docMk/>
          <pc:sldMk cId="2708077593" sldId="2147378681"/>
        </pc:sldMkLst>
      </pc:sldChg>
      <pc:sldChg chg="del">
        <pc:chgData name="丁野 光理" userId="53361c9a-10d0-4268-b39c-a1f4044b33f4" providerId="ADAL" clId="{5877DFAC-9C98-43E6-A261-9723BFE34FAA}" dt="2025-01-29T12:27:40.362" v="9" actId="47"/>
        <pc:sldMkLst>
          <pc:docMk/>
          <pc:sldMk cId="2629355078" sldId="2147378682"/>
        </pc:sldMkLst>
      </pc:sldChg>
      <pc:sldChg chg="del">
        <pc:chgData name="丁野 光理" userId="53361c9a-10d0-4268-b39c-a1f4044b33f4" providerId="ADAL" clId="{5877DFAC-9C98-43E6-A261-9723BFE34FAA}" dt="2025-01-29T12:27:40.481" v="10" actId="47"/>
        <pc:sldMkLst>
          <pc:docMk/>
          <pc:sldMk cId="228645798" sldId="2147378683"/>
        </pc:sldMkLst>
      </pc:sldChg>
      <pc:sldChg chg="del">
        <pc:chgData name="丁野 光理" userId="53361c9a-10d0-4268-b39c-a1f4044b33f4" providerId="ADAL" clId="{5877DFAC-9C98-43E6-A261-9723BFE34FAA}" dt="2025-01-29T12:27:41.039" v="14" actId="47"/>
        <pc:sldMkLst>
          <pc:docMk/>
          <pc:sldMk cId="239223960" sldId="2147378686"/>
        </pc:sldMkLst>
      </pc:sldChg>
      <pc:sldChg chg="del">
        <pc:chgData name="丁野 光理" userId="53361c9a-10d0-4268-b39c-a1f4044b33f4" providerId="ADAL" clId="{5877DFAC-9C98-43E6-A261-9723BFE34FAA}" dt="2025-01-29T12:27:41.302" v="16" actId="47"/>
        <pc:sldMkLst>
          <pc:docMk/>
          <pc:sldMk cId="1260276570" sldId="2147378687"/>
        </pc:sldMkLst>
      </pc:sldChg>
      <pc:sldChg chg="del">
        <pc:chgData name="丁野 光理" userId="53361c9a-10d0-4268-b39c-a1f4044b33f4" providerId="ADAL" clId="{5877DFAC-9C98-43E6-A261-9723BFE34FAA}" dt="2025-01-29T12:27:41.409" v="17" actId="47"/>
        <pc:sldMkLst>
          <pc:docMk/>
          <pc:sldMk cId="2452595465" sldId="2147378688"/>
        </pc:sldMkLst>
      </pc:sldChg>
      <pc:sldChg chg="del">
        <pc:chgData name="丁野 光理" userId="53361c9a-10d0-4268-b39c-a1f4044b33f4" providerId="ADAL" clId="{5877DFAC-9C98-43E6-A261-9723BFE34FAA}" dt="2025-01-29T12:27:41.542" v="18" actId="47"/>
        <pc:sldMkLst>
          <pc:docMk/>
          <pc:sldMk cId="64176771" sldId="2147378692"/>
        </pc:sldMkLst>
      </pc:sldChg>
      <pc:sldChg chg="del">
        <pc:chgData name="丁野 光理" userId="53361c9a-10d0-4268-b39c-a1f4044b33f4" providerId="ADAL" clId="{5877DFAC-9C98-43E6-A261-9723BFE34FAA}" dt="2025-01-29T12:27:41.681" v="19" actId="47"/>
        <pc:sldMkLst>
          <pc:docMk/>
          <pc:sldMk cId="2807815468" sldId="2147378693"/>
        </pc:sldMkLst>
      </pc:sldChg>
      <pc:sldChg chg="del">
        <pc:chgData name="丁野 光理" userId="53361c9a-10d0-4268-b39c-a1f4044b33f4" providerId="ADAL" clId="{5877DFAC-9C98-43E6-A261-9723BFE34FAA}" dt="2025-01-29T12:27:41.862" v="20" actId="47"/>
        <pc:sldMkLst>
          <pc:docMk/>
          <pc:sldMk cId="1631142101" sldId="2147378694"/>
        </pc:sldMkLst>
      </pc:sldChg>
      <pc:sldChg chg="del">
        <pc:chgData name="丁野 光理" userId="53361c9a-10d0-4268-b39c-a1f4044b33f4" providerId="ADAL" clId="{5877DFAC-9C98-43E6-A261-9723BFE34FAA}" dt="2025-01-29T12:27:42.350" v="22" actId="47"/>
        <pc:sldMkLst>
          <pc:docMk/>
          <pc:sldMk cId="3347821416" sldId="2147378698"/>
        </pc:sldMkLst>
      </pc:sldChg>
      <pc:sldChg chg="del">
        <pc:chgData name="丁野 光理" userId="53361c9a-10d0-4268-b39c-a1f4044b33f4" providerId="ADAL" clId="{5877DFAC-9C98-43E6-A261-9723BFE34FAA}" dt="2025-01-29T12:27:42.447" v="25" actId="47"/>
        <pc:sldMkLst>
          <pc:docMk/>
          <pc:sldMk cId="190838501" sldId="2147378699"/>
        </pc:sldMkLst>
      </pc:sldChg>
      <pc:sldChg chg="del">
        <pc:chgData name="丁野 光理" userId="53361c9a-10d0-4268-b39c-a1f4044b33f4" providerId="ADAL" clId="{5877DFAC-9C98-43E6-A261-9723BFE34FAA}" dt="2025-01-29T12:27:42.482" v="26" actId="47"/>
        <pc:sldMkLst>
          <pc:docMk/>
          <pc:sldMk cId="959679513" sldId="2147378701"/>
        </pc:sldMkLst>
      </pc:sldChg>
      <pc:sldChg chg="del">
        <pc:chgData name="丁野 光理" userId="53361c9a-10d0-4268-b39c-a1f4044b33f4" providerId="ADAL" clId="{5877DFAC-9C98-43E6-A261-9723BFE34FAA}" dt="2025-01-29T12:27:42.501" v="27" actId="47"/>
        <pc:sldMkLst>
          <pc:docMk/>
          <pc:sldMk cId="444370572" sldId="2147378702"/>
        </pc:sldMkLst>
      </pc:sldChg>
      <pc:sldChg chg="del">
        <pc:chgData name="丁野 光理" userId="53361c9a-10d0-4268-b39c-a1f4044b33f4" providerId="ADAL" clId="{5877DFAC-9C98-43E6-A261-9723BFE34FAA}" dt="2025-01-29T12:27:42.558" v="28" actId="47"/>
        <pc:sldMkLst>
          <pc:docMk/>
          <pc:sldMk cId="112285639" sldId="2147378703"/>
        </pc:sldMkLst>
      </pc:sldChg>
      <pc:sldChg chg="del">
        <pc:chgData name="丁野 光理" userId="53361c9a-10d0-4268-b39c-a1f4044b33f4" providerId="ADAL" clId="{5877DFAC-9C98-43E6-A261-9723BFE34FAA}" dt="2025-01-29T12:27:42.655" v="31" actId="47"/>
        <pc:sldMkLst>
          <pc:docMk/>
          <pc:sldMk cId="936371591" sldId="2147378704"/>
        </pc:sldMkLst>
      </pc:sldChg>
      <pc:sldChg chg="del">
        <pc:chgData name="丁野 光理" userId="53361c9a-10d0-4268-b39c-a1f4044b33f4" providerId="ADAL" clId="{5877DFAC-9C98-43E6-A261-9723BFE34FAA}" dt="2025-01-29T12:27:42.768" v="33" actId="47"/>
        <pc:sldMkLst>
          <pc:docMk/>
          <pc:sldMk cId="439687747" sldId="2147378705"/>
        </pc:sldMkLst>
      </pc:sldChg>
      <pc:sldChg chg="del">
        <pc:chgData name="丁野 光理" userId="53361c9a-10d0-4268-b39c-a1f4044b33f4" providerId="ADAL" clId="{5877DFAC-9C98-43E6-A261-9723BFE34FAA}" dt="2025-01-29T12:27:42.825" v="34" actId="47"/>
        <pc:sldMkLst>
          <pc:docMk/>
          <pc:sldMk cId="1075793544" sldId="2147378706"/>
        </pc:sldMkLst>
      </pc:sldChg>
      <pc:sldChg chg="del">
        <pc:chgData name="丁野 光理" userId="53361c9a-10d0-4268-b39c-a1f4044b33f4" providerId="ADAL" clId="{5877DFAC-9C98-43E6-A261-9723BFE34FAA}" dt="2025-01-29T12:27:42.864" v="35" actId="47"/>
        <pc:sldMkLst>
          <pc:docMk/>
          <pc:sldMk cId="1215250369" sldId="2147378707"/>
        </pc:sldMkLst>
      </pc:sldChg>
      <pc:sldChg chg="del">
        <pc:chgData name="丁野 光理" userId="53361c9a-10d0-4268-b39c-a1f4044b33f4" providerId="ADAL" clId="{5877DFAC-9C98-43E6-A261-9723BFE34FAA}" dt="2025-01-29T12:27:42.898" v="36" actId="47"/>
        <pc:sldMkLst>
          <pc:docMk/>
          <pc:sldMk cId="355750652" sldId="2147378708"/>
        </pc:sldMkLst>
      </pc:sldChg>
      <pc:sldChg chg="del">
        <pc:chgData name="丁野 光理" userId="53361c9a-10d0-4268-b39c-a1f4044b33f4" providerId="ADAL" clId="{5877DFAC-9C98-43E6-A261-9723BFE34FAA}" dt="2025-01-29T12:27:39.892" v="5" actId="47"/>
        <pc:sldMkLst>
          <pc:docMk/>
          <pc:sldMk cId="3685116316" sldId="2147378709"/>
        </pc:sldMkLst>
      </pc:sldChg>
      <pc:sldChg chg="del">
        <pc:chgData name="丁野 光理" userId="53361c9a-10d0-4268-b39c-a1f4044b33f4" providerId="ADAL" clId="{5877DFAC-9C98-43E6-A261-9723BFE34FAA}" dt="2025-01-29T12:27:40.003" v="6" actId="47"/>
        <pc:sldMkLst>
          <pc:docMk/>
          <pc:sldMk cId="2249235288" sldId="2147378710"/>
        </pc:sldMkLst>
      </pc:sldChg>
      <pc:sldChg chg="del">
        <pc:chgData name="丁野 光理" userId="53361c9a-10d0-4268-b39c-a1f4044b33f4" providerId="ADAL" clId="{5877DFAC-9C98-43E6-A261-9723BFE34FAA}" dt="2025-01-29T12:27:40.131" v="7" actId="47"/>
        <pc:sldMkLst>
          <pc:docMk/>
          <pc:sldMk cId="1302942433" sldId="2147378711"/>
        </pc:sldMkLst>
      </pc:sldChg>
      <pc:sldChg chg="del">
        <pc:chgData name="丁野 光理" userId="53361c9a-10d0-4268-b39c-a1f4044b33f4" providerId="ADAL" clId="{5877DFAC-9C98-43E6-A261-9723BFE34FAA}" dt="2025-01-29T12:27:40.236" v="8" actId="47"/>
        <pc:sldMkLst>
          <pc:docMk/>
          <pc:sldMk cId="958813593" sldId="2147378712"/>
        </pc:sldMkLst>
      </pc:sldChg>
      <pc:sldChg chg="del">
        <pc:chgData name="丁野 光理" userId="53361c9a-10d0-4268-b39c-a1f4044b33f4" providerId="ADAL" clId="{5877DFAC-9C98-43E6-A261-9723BFE34FAA}" dt="2025-01-29T12:27:40.632" v="11" actId="47"/>
        <pc:sldMkLst>
          <pc:docMk/>
          <pc:sldMk cId="2848558883" sldId="2147378713"/>
        </pc:sldMkLst>
      </pc:sldChg>
      <pc:sldChg chg="del">
        <pc:chgData name="丁野 光理" userId="53361c9a-10d0-4268-b39c-a1f4044b33f4" providerId="ADAL" clId="{5877DFAC-9C98-43E6-A261-9723BFE34FAA}" dt="2025-01-29T12:27:41.164" v="15" actId="47"/>
        <pc:sldMkLst>
          <pc:docMk/>
          <pc:sldMk cId="3334367261" sldId="2147378714"/>
        </pc:sldMkLst>
      </pc:sldChg>
      <pc:sldChg chg="del">
        <pc:chgData name="丁野 光理" userId="53361c9a-10d0-4268-b39c-a1f4044b33f4" providerId="ADAL" clId="{5877DFAC-9C98-43E6-A261-9723BFE34FAA}" dt="2025-01-29T12:27:42.370" v="23" actId="47"/>
        <pc:sldMkLst>
          <pc:docMk/>
          <pc:sldMk cId="89963991" sldId="2147378715"/>
        </pc:sldMkLst>
      </pc:sldChg>
      <pc:sldChg chg="del">
        <pc:chgData name="丁野 光理" userId="53361c9a-10d0-4268-b39c-a1f4044b33f4" providerId="ADAL" clId="{5877DFAC-9C98-43E6-A261-9723BFE34FAA}" dt="2025-01-29T12:27:42.415" v="24" actId="47"/>
        <pc:sldMkLst>
          <pc:docMk/>
          <pc:sldMk cId="1575785639" sldId="2147378716"/>
        </pc:sldMkLst>
      </pc:sldChg>
      <pc:sldChg chg="del">
        <pc:chgData name="丁野 光理" userId="53361c9a-10d0-4268-b39c-a1f4044b33f4" providerId="ADAL" clId="{5877DFAC-9C98-43E6-A261-9723BFE34FAA}" dt="2025-01-29T12:27:42.597" v="29" actId="47"/>
        <pc:sldMkLst>
          <pc:docMk/>
          <pc:sldMk cId="1334307493" sldId="2147378717"/>
        </pc:sldMkLst>
      </pc:sldChg>
      <pc:sldChg chg="del">
        <pc:chgData name="丁野 光理" userId="53361c9a-10d0-4268-b39c-a1f4044b33f4" providerId="ADAL" clId="{5877DFAC-9C98-43E6-A261-9723BFE34FAA}" dt="2025-01-29T12:27:42.713" v="32" actId="47"/>
        <pc:sldMkLst>
          <pc:docMk/>
          <pc:sldMk cId="2574112575" sldId="2147378718"/>
        </pc:sldMkLst>
      </pc:sldChg>
      <pc:sldChg chg="del">
        <pc:chgData name="丁野 光理" userId="53361c9a-10d0-4268-b39c-a1f4044b33f4" providerId="ADAL" clId="{5877DFAC-9C98-43E6-A261-9723BFE34FAA}" dt="2025-01-29T12:27:42.936" v="38" actId="47"/>
        <pc:sldMkLst>
          <pc:docMk/>
          <pc:sldMk cId="2029142166" sldId="2147378719"/>
        </pc:sldMkLst>
      </pc:sldChg>
      <pc:sldChg chg="del">
        <pc:chgData name="丁野 光理" userId="53361c9a-10d0-4268-b39c-a1f4044b33f4" providerId="ADAL" clId="{5877DFAC-9C98-43E6-A261-9723BFE34FAA}" dt="2025-01-29T12:27:42.965" v="39" actId="47"/>
        <pc:sldMkLst>
          <pc:docMk/>
          <pc:sldMk cId="2471951817" sldId="2147378720"/>
        </pc:sldMkLst>
      </pc:sldChg>
      <pc:sldChg chg="del">
        <pc:chgData name="丁野 光理" userId="53361c9a-10d0-4268-b39c-a1f4044b33f4" providerId="ADAL" clId="{5877DFAC-9C98-43E6-A261-9723BFE34FAA}" dt="2025-01-29T12:27:42.916" v="37" actId="47"/>
        <pc:sldMkLst>
          <pc:docMk/>
          <pc:sldMk cId="1590769032" sldId="2147378721"/>
        </pc:sldMkLst>
      </pc:sldChg>
      <pc:sldChg chg="modSp add del mod">
        <pc:chgData name="丁野 光理" userId="53361c9a-10d0-4268-b39c-a1f4044b33f4" providerId="ADAL" clId="{5877DFAC-9C98-43E6-A261-9723BFE34FAA}" dt="2025-01-29T12:31:02.182" v="118" actId="47"/>
        <pc:sldMkLst>
          <pc:docMk/>
          <pc:sldMk cId="1024588978" sldId="2147378722"/>
        </pc:sldMkLst>
        <pc:spChg chg="mod">
          <ac:chgData name="丁野 光理" userId="53361c9a-10d0-4268-b39c-a1f4044b33f4" providerId="ADAL" clId="{5877DFAC-9C98-43E6-A261-9723BFE34FAA}" dt="2025-01-29T12:28:46.862" v="99"/>
          <ac:spMkLst>
            <pc:docMk/>
            <pc:sldMk cId="1024588978" sldId="2147378722"/>
            <ac:spMk id="2" creationId="{02EB99B5-F15E-5918-8C4B-95B5DE8DC4E4}"/>
          </ac:spMkLst>
        </pc:spChg>
      </pc:sldChg>
      <pc:sldChg chg="addSp delSp modSp add mod">
        <pc:chgData name="丁野 光理" userId="53361c9a-10d0-4268-b39c-a1f4044b33f4" providerId="ADAL" clId="{5877DFAC-9C98-43E6-A261-9723BFE34FAA}" dt="2025-01-31T11:08:48.611" v="872" actId="2164"/>
        <pc:sldMkLst>
          <pc:docMk/>
          <pc:sldMk cId="3369047166" sldId="2147378723"/>
        </pc:sldMkLst>
        <pc:spChg chg="mod">
          <ac:chgData name="丁野 光理" userId="53361c9a-10d0-4268-b39c-a1f4044b33f4" providerId="ADAL" clId="{5877DFAC-9C98-43E6-A261-9723BFE34FAA}" dt="2025-01-30T11:10:45.163" v="723"/>
          <ac:spMkLst>
            <pc:docMk/>
            <pc:sldMk cId="3369047166" sldId="2147378723"/>
            <ac:spMk id="2" creationId="{02EB99B5-F15E-5918-8C4B-95B5DE8DC4E4}"/>
          </ac:spMkLst>
        </pc:spChg>
        <pc:spChg chg="mod">
          <ac:chgData name="丁野 光理" userId="53361c9a-10d0-4268-b39c-a1f4044b33f4" providerId="ADAL" clId="{5877DFAC-9C98-43E6-A261-9723BFE34FAA}" dt="2025-01-29T12:31:05.634" v="125" actId="20577"/>
          <ac:spMkLst>
            <pc:docMk/>
            <pc:sldMk cId="3369047166" sldId="2147378723"/>
            <ac:spMk id="3" creationId="{C5333301-1A63-B710-1509-005FC55AF02B}"/>
          </ac:spMkLst>
        </pc:spChg>
        <pc:spChg chg="del">
          <ac:chgData name="丁野 光理" userId="53361c9a-10d0-4268-b39c-a1f4044b33f4" providerId="ADAL" clId="{5877DFAC-9C98-43E6-A261-9723BFE34FAA}" dt="2025-01-29T12:31:18.307" v="134" actId="478"/>
          <ac:spMkLst>
            <pc:docMk/>
            <pc:sldMk cId="3369047166" sldId="2147378723"/>
            <ac:spMk id="5" creationId="{DCE85B40-C632-3117-63E0-33110F3F718F}"/>
          </ac:spMkLst>
        </pc:spChg>
        <pc:spChg chg="add del mod">
          <ac:chgData name="丁野 光理" userId="53361c9a-10d0-4268-b39c-a1f4044b33f4" providerId="ADAL" clId="{5877DFAC-9C98-43E6-A261-9723BFE34FAA}" dt="2025-01-30T11:09:26.308" v="695" actId="478"/>
          <ac:spMkLst>
            <pc:docMk/>
            <pc:sldMk cId="3369047166" sldId="2147378723"/>
            <ac:spMk id="6" creationId="{FFF06E2E-B584-91FC-2CD2-1440D7CDD0EB}"/>
          </ac:spMkLst>
        </pc:spChg>
        <pc:spChg chg="del mod">
          <ac:chgData name="丁野 光理" userId="53361c9a-10d0-4268-b39c-a1f4044b33f4" providerId="ADAL" clId="{5877DFAC-9C98-43E6-A261-9723BFE34FAA}" dt="2025-01-29T12:31:20.320" v="136" actId="478"/>
          <ac:spMkLst>
            <pc:docMk/>
            <pc:sldMk cId="3369047166" sldId="2147378723"/>
            <ac:spMk id="8" creationId="{E1FF75BF-0E22-70D4-54BB-4C5C25E1BC01}"/>
          </ac:spMkLst>
        </pc:spChg>
        <pc:spChg chg="del">
          <ac:chgData name="丁野 光理" userId="53361c9a-10d0-4268-b39c-a1f4044b33f4" providerId="ADAL" clId="{5877DFAC-9C98-43E6-A261-9723BFE34FAA}" dt="2025-01-29T12:31:24.308" v="138" actId="478"/>
          <ac:spMkLst>
            <pc:docMk/>
            <pc:sldMk cId="3369047166" sldId="2147378723"/>
            <ac:spMk id="9" creationId="{C85DCFFD-9943-C325-3A59-EAAF3B58F61B}"/>
          </ac:spMkLst>
        </pc:spChg>
        <pc:spChg chg="del">
          <ac:chgData name="丁野 光理" userId="53361c9a-10d0-4268-b39c-a1f4044b33f4" providerId="ADAL" clId="{5877DFAC-9C98-43E6-A261-9723BFE34FAA}" dt="2025-01-29T12:31:22.016" v="137" actId="478"/>
          <ac:spMkLst>
            <pc:docMk/>
            <pc:sldMk cId="3369047166" sldId="2147378723"/>
            <ac:spMk id="10" creationId="{A12C5D5E-7E70-4DF9-A249-6992A076B1B7}"/>
          </ac:spMkLst>
        </pc:spChg>
        <pc:graphicFrameChg chg="mod modGraphic">
          <ac:chgData name="丁野 光理" userId="53361c9a-10d0-4268-b39c-a1f4044b33f4" providerId="ADAL" clId="{5877DFAC-9C98-43E6-A261-9723BFE34FAA}" dt="2025-01-31T11:08:48.611" v="872" actId="2164"/>
          <ac:graphicFrameMkLst>
            <pc:docMk/>
            <pc:sldMk cId="3369047166" sldId="2147378723"/>
            <ac:graphicFrameMk id="7" creationId="{51BF938D-C177-A844-2103-F1E47DDCCCB9}"/>
          </ac:graphicFrameMkLst>
        </pc:graphicFrameChg>
      </pc:sldChg>
      <pc:sldChg chg="addSp delSp modSp add mod">
        <pc:chgData name="丁野 光理" userId="53361c9a-10d0-4268-b39c-a1f4044b33f4" providerId="ADAL" clId="{5877DFAC-9C98-43E6-A261-9723BFE34FAA}" dt="2025-01-30T11:08:28.465" v="533" actId="1076"/>
        <pc:sldMkLst>
          <pc:docMk/>
          <pc:sldMk cId="3890912361" sldId="2147378726"/>
        </pc:sldMkLst>
        <pc:spChg chg="mod">
          <ac:chgData name="丁野 光理" userId="53361c9a-10d0-4268-b39c-a1f4044b33f4" providerId="ADAL" clId="{5877DFAC-9C98-43E6-A261-9723BFE34FAA}" dt="2025-01-30T11:08:27.240" v="532" actId="20577"/>
          <ac:spMkLst>
            <pc:docMk/>
            <pc:sldMk cId="3890912361" sldId="2147378726"/>
            <ac:spMk id="2" creationId="{02EB99B5-F15E-5918-8C4B-95B5DE8DC4E4}"/>
          </ac:spMkLst>
        </pc:spChg>
        <pc:spChg chg="mod">
          <ac:chgData name="丁野 光理" userId="53361c9a-10d0-4268-b39c-a1f4044b33f4" providerId="ADAL" clId="{5877DFAC-9C98-43E6-A261-9723BFE34FAA}" dt="2025-01-29T12:32:02.337" v="179" actId="20577"/>
          <ac:spMkLst>
            <pc:docMk/>
            <pc:sldMk cId="3890912361" sldId="2147378726"/>
            <ac:spMk id="3" creationId="{C5333301-1A63-B710-1509-005FC55AF02B}"/>
          </ac:spMkLst>
        </pc:spChg>
        <pc:spChg chg="add del mod">
          <ac:chgData name="丁野 光理" userId="53361c9a-10d0-4268-b39c-a1f4044b33f4" providerId="ADAL" clId="{5877DFAC-9C98-43E6-A261-9723BFE34FAA}" dt="2025-01-30T11:07:28.689" v="351" actId="478"/>
          <ac:spMkLst>
            <pc:docMk/>
            <pc:sldMk cId="3890912361" sldId="2147378726"/>
            <ac:spMk id="5" creationId="{AC20B4B4-CF05-022E-7051-4E80B5969577}"/>
          </ac:spMkLst>
        </pc:spChg>
        <pc:spChg chg="add mod">
          <ac:chgData name="丁野 光理" userId="53361c9a-10d0-4268-b39c-a1f4044b33f4" providerId="ADAL" clId="{5877DFAC-9C98-43E6-A261-9723BFE34FAA}" dt="2025-01-30T11:08:28.465" v="533" actId="1076"/>
          <ac:spMkLst>
            <pc:docMk/>
            <pc:sldMk cId="3890912361" sldId="2147378726"/>
            <ac:spMk id="6" creationId="{D1EBB277-187A-704D-CDD3-618ACC2C33AF}"/>
          </ac:spMkLst>
        </pc:spChg>
        <pc:spChg chg="del">
          <ac:chgData name="丁野 光理" userId="53361c9a-10d0-4268-b39c-a1f4044b33f4" providerId="ADAL" clId="{5877DFAC-9C98-43E6-A261-9723BFE34FAA}" dt="2025-01-29T12:29:13.399" v="103" actId="478"/>
          <ac:spMkLst>
            <pc:docMk/>
            <pc:sldMk cId="3890912361" sldId="2147378726"/>
            <ac:spMk id="14" creationId="{562EC2B5-8042-435E-9237-C87A3355F4E0}"/>
          </ac:spMkLst>
        </pc:spChg>
        <pc:picChg chg="del mod">
          <ac:chgData name="丁野 光理" userId="53361c9a-10d0-4268-b39c-a1f4044b33f4" providerId="ADAL" clId="{5877DFAC-9C98-43E6-A261-9723BFE34FAA}" dt="2025-01-29T12:29:10.244" v="102" actId="478"/>
          <ac:picMkLst>
            <pc:docMk/>
            <pc:sldMk cId="3890912361" sldId="2147378726"/>
            <ac:picMk id="10" creationId="{0DDE9C71-23CD-E5C5-3829-28440EDFE4B2}"/>
          </ac:picMkLst>
        </pc:picChg>
      </pc:sldChg>
      <pc:sldChg chg="addSp delSp modSp add mod">
        <pc:chgData name="丁野 光理" userId="53361c9a-10d0-4268-b39c-a1f4044b33f4" providerId="ADAL" clId="{5877DFAC-9C98-43E6-A261-9723BFE34FAA}" dt="2025-01-30T11:09:21.122" v="693"/>
        <pc:sldMkLst>
          <pc:docMk/>
          <pc:sldMk cId="748309699" sldId="2147378727"/>
        </pc:sldMkLst>
        <pc:spChg chg="mod">
          <ac:chgData name="丁野 光理" userId="53361c9a-10d0-4268-b39c-a1f4044b33f4" providerId="ADAL" clId="{5877DFAC-9C98-43E6-A261-9723BFE34FAA}" dt="2025-01-30T11:08:57.116" v="603" actId="20577"/>
          <ac:spMkLst>
            <pc:docMk/>
            <pc:sldMk cId="748309699" sldId="2147378727"/>
            <ac:spMk id="2" creationId="{02EB99B5-F15E-5918-8C4B-95B5DE8DC4E4}"/>
          </ac:spMkLst>
        </pc:spChg>
        <pc:spChg chg="mod">
          <ac:chgData name="丁野 光理" userId="53361c9a-10d0-4268-b39c-a1f4044b33f4" providerId="ADAL" clId="{5877DFAC-9C98-43E6-A261-9723BFE34FAA}" dt="2025-01-29T12:32:04.831" v="182" actId="20577"/>
          <ac:spMkLst>
            <pc:docMk/>
            <pc:sldMk cId="748309699" sldId="2147378727"/>
            <ac:spMk id="3" creationId="{C5333301-1A63-B710-1509-005FC55AF02B}"/>
          </ac:spMkLst>
        </pc:spChg>
        <pc:spChg chg="del">
          <ac:chgData name="丁野 光理" userId="53361c9a-10d0-4268-b39c-a1f4044b33f4" providerId="ADAL" clId="{5877DFAC-9C98-43E6-A261-9723BFE34FAA}" dt="2025-01-30T11:08:34.885" v="534" actId="478"/>
          <ac:spMkLst>
            <pc:docMk/>
            <pc:sldMk cId="748309699" sldId="2147378727"/>
            <ac:spMk id="5" creationId="{AC20B4B4-CF05-022E-7051-4E80B5969577}"/>
          </ac:spMkLst>
        </pc:spChg>
        <pc:spChg chg="add mod">
          <ac:chgData name="丁野 光理" userId="53361c9a-10d0-4268-b39c-a1f4044b33f4" providerId="ADAL" clId="{5877DFAC-9C98-43E6-A261-9723BFE34FAA}" dt="2025-01-30T11:09:21.122" v="693"/>
          <ac:spMkLst>
            <pc:docMk/>
            <pc:sldMk cId="748309699" sldId="2147378727"/>
            <ac:spMk id="6" creationId="{46B44861-E9C0-138A-7BF9-98797AA9FD85}"/>
          </ac:spMkLst>
        </pc:spChg>
      </pc:sldChg>
      <pc:sldChg chg="modSp add mod">
        <pc:chgData name="丁野 光理" userId="53361c9a-10d0-4268-b39c-a1f4044b33f4" providerId="ADAL" clId="{5877DFAC-9C98-43E6-A261-9723BFE34FAA}" dt="2025-01-31T11:08:04.593" v="859" actId="20577"/>
        <pc:sldMkLst>
          <pc:docMk/>
          <pc:sldMk cId="244108044" sldId="2147378728"/>
        </pc:sldMkLst>
        <pc:spChg chg="mod">
          <ac:chgData name="丁野 光理" userId="53361c9a-10d0-4268-b39c-a1f4044b33f4" providerId="ADAL" clId="{5877DFAC-9C98-43E6-A261-9723BFE34FAA}" dt="2025-01-31T10:04:37.857" v="786"/>
          <ac:spMkLst>
            <pc:docMk/>
            <pc:sldMk cId="244108044" sldId="2147378728"/>
            <ac:spMk id="2" creationId="{02EB99B5-F15E-5918-8C4B-95B5DE8DC4E4}"/>
          </ac:spMkLst>
        </pc:spChg>
        <pc:graphicFrameChg chg="mod modGraphic">
          <ac:chgData name="丁野 光理" userId="53361c9a-10d0-4268-b39c-a1f4044b33f4" providerId="ADAL" clId="{5877DFAC-9C98-43E6-A261-9723BFE34FAA}" dt="2025-01-31T11:08:04.593" v="859" actId="20577"/>
          <ac:graphicFrameMkLst>
            <pc:docMk/>
            <pc:sldMk cId="244108044" sldId="2147378728"/>
            <ac:graphicFrameMk id="7" creationId="{51BF938D-C177-A844-2103-F1E47DDCCCB9}"/>
          </ac:graphicFrameMkLst>
        </pc:graphicFrameChg>
      </pc:sldChg>
      <pc:sldMasterChg chg="modSp mod delSldLayout modSldLayout">
        <pc:chgData name="丁野 光理" userId="53361c9a-10d0-4268-b39c-a1f4044b33f4" providerId="ADAL" clId="{5877DFAC-9C98-43E6-A261-9723BFE34FAA}" dt="2025-01-31T10:02:43.517" v="725" actId="207"/>
        <pc:sldMasterMkLst>
          <pc:docMk/>
          <pc:sldMasterMk cId="2162003807" sldId="2147483755"/>
        </pc:sldMasterMkLst>
        <pc:spChg chg="mod">
          <ac:chgData name="丁野 光理" userId="53361c9a-10d0-4268-b39c-a1f4044b33f4" providerId="ADAL" clId="{5877DFAC-9C98-43E6-A261-9723BFE34FAA}" dt="2025-01-29T12:29:28.138" v="110"/>
          <ac:spMkLst>
            <pc:docMk/>
            <pc:sldMasterMk cId="2162003807" sldId="2147483755"/>
            <ac:spMk id="3" creationId="{87D0FF6D-A520-87F6-851A-32670B6B9442}"/>
          </ac:spMkLst>
        </pc:spChg>
        <pc:sldLayoutChg chg="modSp mod">
          <pc:chgData name="丁野 光理" userId="53361c9a-10d0-4268-b39c-a1f4044b33f4" providerId="ADAL" clId="{5877DFAC-9C98-43E6-A261-9723BFE34FAA}" dt="2025-01-29T12:29:34.546" v="115"/>
          <pc:sldLayoutMkLst>
            <pc:docMk/>
            <pc:sldMasterMk cId="2162003807" sldId="2147483755"/>
            <pc:sldLayoutMk cId="291536866" sldId="2147483756"/>
          </pc:sldLayoutMkLst>
          <pc:spChg chg="mod">
            <ac:chgData name="丁野 光理" userId="53361c9a-10d0-4268-b39c-a1f4044b33f4" providerId="ADAL" clId="{5877DFAC-9C98-43E6-A261-9723BFE34FAA}" dt="2025-01-29T12:29:34.546" v="115"/>
            <ac:spMkLst>
              <pc:docMk/>
              <pc:sldMasterMk cId="2162003807" sldId="2147483755"/>
              <pc:sldLayoutMk cId="291536866" sldId="2147483756"/>
              <ac:spMk id="2" creationId="{A3FB6309-E751-E5DF-C7C2-D7D80856905C}"/>
            </ac:spMkLst>
          </pc:spChg>
        </pc:sldLayoutChg>
        <pc:sldLayoutChg chg="del">
          <pc:chgData name="丁野 光理" userId="53361c9a-10d0-4268-b39c-a1f4044b33f4" providerId="ADAL" clId="{5877DFAC-9C98-43E6-A261-9723BFE34FAA}" dt="2025-01-29T12:27:42.936" v="38" actId="47"/>
          <pc:sldLayoutMkLst>
            <pc:docMk/>
            <pc:sldMasterMk cId="2162003807" sldId="2147483755"/>
            <pc:sldLayoutMk cId="3034404116" sldId="2147483761"/>
          </pc:sldLayoutMkLst>
        </pc:sldLayoutChg>
        <pc:sldLayoutChg chg="modSp">
          <pc:chgData name="丁野 光理" userId="53361c9a-10d0-4268-b39c-a1f4044b33f4" providerId="ADAL" clId="{5877DFAC-9C98-43E6-A261-9723BFE34FAA}" dt="2025-01-31T10:02:43.517" v="725" actId="207"/>
          <pc:sldLayoutMkLst>
            <pc:docMk/>
            <pc:sldMasterMk cId="2162003807" sldId="2147483755"/>
            <pc:sldLayoutMk cId="3536581663" sldId="2147483761"/>
          </pc:sldLayoutMkLst>
          <pc:spChg chg="mod">
            <ac:chgData name="丁野 光理" userId="53361c9a-10d0-4268-b39c-a1f4044b33f4" providerId="ADAL" clId="{5877DFAC-9C98-43E6-A261-9723BFE34FAA}" dt="2025-01-31T10:02:43.517" v="725" actId="207"/>
            <ac:spMkLst>
              <pc:docMk/>
              <pc:sldMasterMk cId="2162003807" sldId="2147483755"/>
              <pc:sldLayoutMk cId="3536581663" sldId="2147483761"/>
              <ac:spMk id="9" creationId="{962A254E-2854-48FA-8F65-0066AC7FF3BC}"/>
            </ac:spMkLst>
          </pc:spChg>
        </pc:sldLayoutChg>
      </pc:sldMasterChg>
    </pc:docChg>
  </pc:docChgLst>
  <pc:docChgLst>
    <pc:chgData name="原田　惇" clId="Web-{B5B586EE-9B8F-4D7D-BD29-28B508D36219}"/>
    <pc:docChg chg="modSld">
      <pc:chgData name="原田　惇" userId="" providerId="" clId="Web-{B5B586EE-9B8F-4D7D-BD29-28B508D36219}" dt="2024-04-17T12:56:18.537" v="121" actId="14100"/>
      <pc:docMkLst>
        <pc:docMk/>
      </pc:docMkLst>
      <pc:sldChg chg="addSp modSp">
        <pc:chgData name="原田　惇" userId="" providerId="" clId="Web-{B5B586EE-9B8F-4D7D-BD29-28B508D36219}" dt="2024-04-17T12:56:18.537" v="121" actId="14100"/>
        <pc:sldMkLst>
          <pc:docMk/>
          <pc:sldMk cId="1541444175" sldId="2147378660"/>
        </pc:sldMkLst>
        <pc:spChg chg="add mod">
          <ac:chgData name="原田　惇" userId="" providerId="" clId="Web-{B5B586EE-9B8F-4D7D-BD29-28B508D36219}" dt="2024-04-17T12:56:18.537" v="121" actId="14100"/>
          <ac:spMkLst>
            <pc:docMk/>
            <pc:sldMk cId="1541444175" sldId="2147378660"/>
            <ac:spMk id="2" creationId="{F94CF494-E0C2-22EA-8AE5-F92FB79F0C3D}"/>
          </ac:spMkLst>
        </pc:spChg>
      </pc:sldChg>
    </pc:docChg>
  </pc:docChgLst>
  <pc:docChgLst>
    <pc:chgData name="神谷 聖二" userId="517b2053-71b1-4492-bbd9-c8e4b39141e4" providerId="ADAL" clId="{AAB0666E-E105-4B86-BD4F-FDD5F3321F12}"/>
    <pc:docChg chg="undo custSel modSld">
      <pc:chgData name="神谷 聖二" userId="517b2053-71b1-4492-bbd9-c8e4b39141e4" providerId="ADAL" clId="{AAB0666E-E105-4B86-BD4F-FDD5F3321F12}" dt="2024-07-12T07:44:53.755" v="806" actId="1036"/>
      <pc:docMkLst>
        <pc:docMk/>
      </pc:docMkLst>
      <pc:sldChg chg="modSp mod">
        <pc:chgData name="神谷 聖二" userId="517b2053-71b1-4492-bbd9-c8e4b39141e4" providerId="ADAL" clId="{AAB0666E-E105-4B86-BD4F-FDD5F3321F12}" dt="2024-07-12T07:43:28.609" v="804" actId="20577"/>
        <pc:sldMkLst>
          <pc:docMk/>
          <pc:sldMk cId="2355786622" sldId="2146847413"/>
        </pc:sldMkLst>
        <pc:spChg chg="mod">
          <ac:chgData name="神谷 聖二" userId="517b2053-71b1-4492-bbd9-c8e4b39141e4" providerId="ADAL" clId="{AAB0666E-E105-4B86-BD4F-FDD5F3321F12}" dt="2024-07-12T07:43:28.609" v="804" actId="20577"/>
          <ac:spMkLst>
            <pc:docMk/>
            <pc:sldMk cId="2355786622" sldId="2146847413"/>
            <ac:spMk id="3" creationId="{C57F1E1F-3521-45C1-9CD2-360C7A8ED649}"/>
          </ac:spMkLst>
        </pc:spChg>
      </pc:sldChg>
      <pc:sldChg chg="modSp mod">
        <pc:chgData name="神谷 聖二" userId="517b2053-71b1-4492-bbd9-c8e4b39141e4" providerId="ADAL" clId="{AAB0666E-E105-4B86-BD4F-FDD5F3321F12}" dt="2024-07-12T07:36:54.657" v="752" actId="20577"/>
        <pc:sldMkLst>
          <pc:docMk/>
          <pc:sldMk cId="1869527861" sldId="2147378640"/>
        </pc:sldMkLst>
        <pc:spChg chg="mod">
          <ac:chgData name="神谷 聖二" userId="517b2053-71b1-4492-bbd9-c8e4b39141e4" providerId="ADAL" clId="{AAB0666E-E105-4B86-BD4F-FDD5F3321F12}" dt="2024-07-12T07:36:54.657" v="752" actId="20577"/>
          <ac:spMkLst>
            <pc:docMk/>
            <pc:sldMk cId="1869527861" sldId="2147378640"/>
            <ac:spMk id="10" creationId="{80E6EF29-A9F8-46B2-8DDE-5092A65E485F}"/>
          </ac:spMkLst>
        </pc:spChg>
      </pc:sldChg>
      <pc:sldChg chg="modSp mod">
        <pc:chgData name="神谷 聖二" userId="517b2053-71b1-4492-bbd9-c8e4b39141e4" providerId="ADAL" clId="{AAB0666E-E105-4B86-BD4F-FDD5F3321F12}" dt="2024-07-12T07:37:01.612" v="753" actId="20577"/>
        <pc:sldMkLst>
          <pc:docMk/>
          <pc:sldMk cId="2854292604" sldId="2147378652"/>
        </pc:sldMkLst>
        <pc:spChg chg="mod">
          <ac:chgData name="神谷 聖二" userId="517b2053-71b1-4492-bbd9-c8e4b39141e4" providerId="ADAL" clId="{AAB0666E-E105-4B86-BD4F-FDD5F3321F12}" dt="2024-07-12T07:37:01.612" v="753" actId="20577"/>
          <ac:spMkLst>
            <pc:docMk/>
            <pc:sldMk cId="2854292604" sldId="2147378652"/>
            <ac:spMk id="10" creationId="{3FBABAD3-5FB4-0114-9B7B-795B1762F04A}"/>
          </ac:spMkLst>
        </pc:spChg>
      </pc:sldChg>
      <pc:sldChg chg="modSp mod">
        <pc:chgData name="神谷 聖二" userId="517b2053-71b1-4492-bbd9-c8e4b39141e4" providerId="ADAL" clId="{AAB0666E-E105-4B86-BD4F-FDD5F3321F12}" dt="2024-07-12T07:37:12.016" v="754" actId="14100"/>
        <pc:sldMkLst>
          <pc:docMk/>
          <pc:sldMk cId="1245055399" sldId="2147378653"/>
        </pc:sldMkLst>
        <pc:spChg chg="mod">
          <ac:chgData name="神谷 聖二" userId="517b2053-71b1-4492-bbd9-c8e4b39141e4" providerId="ADAL" clId="{AAB0666E-E105-4B86-BD4F-FDD5F3321F12}" dt="2024-07-12T07:37:12.016" v="754" actId="14100"/>
          <ac:spMkLst>
            <pc:docMk/>
            <pc:sldMk cId="1245055399" sldId="2147378653"/>
            <ac:spMk id="9" creationId="{B79A90FB-8F87-BD8C-CDDB-781282C516A5}"/>
          </ac:spMkLst>
        </pc:spChg>
        <pc:spChg chg="mod">
          <ac:chgData name="神谷 聖二" userId="517b2053-71b1-4492-bbd9-c8e4b39141e4" providerId="ADAL" clId="{AAB0666E-E105-4B86-BD4F-FDD5F3321F12}" dt="2024-07-12T07:36:47.089" v="751" actId="20577"/>
          <ac:spMkLst>
            <pc:docMk/>
            <pc:sldMk cId="1245055399" sldId="2147378653"/>
            <ac:spMk id="10" creationId="{F4A72386-C363-032B-B0E0-9FB1031C9979}"/>
          </ac:spMkLst>
        </pc:spChg>
      </pc:sldChg>
      <pc:sldChg chg="modSp mod">
        <pc:chgData name="神谷 聖二" userId="517b2053-71b1-4492-bbd9-c8e4b39141e4" providerId="ADAL" clId="{AAB0666E-E105-4B86-BD4F-FDD5F3321F12}" dt="2024-07-12T07:44:53.755" v="806" actId="1036"/>
        <pc:sldMkLst>
          <pc:docMk/>
          <pc:sldMk cId="1132711422" sldId="2147378657"/>
        </pc:sldMkLst>
        <pc:graphicFrameChg chg="mod modGraphic">
          <ac:chgData name="神谷 聖二" userId="517b2053-71b1-4492-bbd9-c8e4b39141e4" providerId="ADAL" clId="{AAB0666E-E105-4B86-BD4F-FDD5F3321F12}" dt="2024-07-12T07:44:53.755" v="806" actId="1036"/>
          <ac:graphicFrameMkLst>
            <pc:docMk/>
            <pc:sldMk cId="1132711422" sldId="2147378657"/>
            <ac:graphicFrameMk id="13" creationId="{6B84DF48-8B2E-7483-E19E-A4C36C91AA03}"/>
          </ac:graphicFrameMkLst>
        </pc:graphicFrameChg>
      </pc:sldChg>
      <pc:sldChg chg="modSp mod">
        <pc:chgData name="神谷 聖二" userId="517b2053-71b1-4492-bbd9-c8e4b39141e4" providerId="ADAL" clId="{AAB0666E-E105-4B86-BD4F-FDD5F3321F12}" dt="2024-07-12T07:36:19.395" v="750" actId="20577"/>
        <pc:sldMkLst>
          <pc:docMk/>
          <pc:sldMk cId="2807815468" sldId="2147378693"/>
        </pc:sldMkLst>
        <pc:spChg chg="mod">
          <ac:chgData name="神谷 聖二" userId="517b2053-71b1-4492-bbd9-c8e4b39141e4" providerId="ADAL" clId="{AAB0666E-E105-4B86-BD4F-FDD5F3321F12}" dt="2024-07-12T07:36:08.860" v="734" actId="20577"/>
          <ac:spMkLst>
            <pc:docMk/>
            <pc:sldMk cId="2807815468" sldId="2147378693"/>
            <ac:spMk id="4" creationId="{6F71EB31-C9B7-4098-9EFB-8216961CCBDC}"/>
          </ac:spMkLst>
        </pc:spChg>
        <pc:spChg chg="mod">
          <ac:chgData name="神谷 聖二" userId="517b2053-71b1-4492-bbd9-c8e4b39141e4" providerId="ADAL" clId="{AAB0666E-E105-4B86-BD4F-FDD5F3321F12}" dt="2024-07-12T07:36:19.395" v="750" actId="20577"/>
          <ac:spMkLst>
            <pc:docMk/>
            <pc:sldMk cId="2807815468" sldId="2147378693"/>
            <ac:spMk id="8" creationId="{9B252D3D-6288-96C4-6851-3CB5CABE93B0}"/>
          </ac:spMkLst>
        </pc:spChg>
        <pc:spChg chg="mod">
          <ac:chgData name="神谷 聖二" userId="517b2053-71b1-4492-bbd9-c8e4b39141e4" providerId="ADAL" clId="{AAB0666E-E105-4B86-BD4F-FDD5F3321F12}" dt="2024-07-12T07:36:14.872" v="743" actId="20577"/>
          <ac:spMkLst>
            <pc:docMk/>
            <pc:sldMk cId="2807815468" sldId="2147378693"/>
            <ac:spMk id="14" creationId="{5BC8482B-CF2B-219A-8F08-419E3A5FC47F}"/>
          </ac:spMkLst>
        </pc:spChg>
        <pc:spChg chg="mod">
          <ac:chgData name="神谷 聖二" userId="517b2053-71b1-4492-bbd9-c8e4b39141e4" providerId="ADAL" clId="{AAB0666E-E105-4B86-BD4F-FDD5F3321F12}" dt="2024-07-12T07:36:04.082" v="727" actId="20577"/>
          <ac:spMkLst>
            <pc:docMk/>
            <pc:sldMk cId="2807815468" sldId="2147378693"/>
            <ac:spMk id="17" creationId="{C9C43BC8-810D-E426-4335-300BCA945BC0}"/>
          </ac:spMkLst>
        </pc:spChg>
        <pc:spChg chg="mod">
          <ac:chgData name="神谷 聖二" userId="517b2053-71b1-4492-bbd9-c8e4b39141e4" providerId="ADAL" clId="{AAB0666E-E105-4B86-BD4F-FDD5F3321F12}" dt="2024-07-12T07:35:59.743" v="720" actId="20577"/>
          <ac:spMkLst>
            <pc:docMk/>
            <pc:sldMk cId="2807815468" sldId="2147378693"/>
            <ac:spMk id="20" creationId="{B5AB1C34-EB45-F138-564F-B61D792CEA4E}"/>
          </ac:spMkLst>
        </pc:spChg>
      </pc:sldChg>
      <pc:sldChg chg="modSp mod">
        <pc:chgData name="神谷 聖二" userId="517b2053-71b1-4492-bbd9-c8e4b39141e4" providerId="ADAL" clId="{AAB0666E-E105-4B86-BD4F-FDD5F3321F12}" dt="2024-07-12T07:28:56.557" v="698" actId="14734"/>
        <pc:sldMkLst>
          <pc:docMk/>
          <pc:sldMk cId="190838501" sldId="2147378699"/>
        </pc:sldMkLst>
        <pc:spChg chg="mod">
          <ac:chgData name="神谷 聖二" userId="517b2053-71b1-4492-bbd9-c8e4b39141e4" providerId="ADAL" clId="{AAB0666E-E105-4B86-BD4F-FDD5F3321F12}" dt="2024-07-12T07:20:59.342" v="187" actId="20577"/>
          <ac:spMkLst>
            <pc:docMk/>
            <pc:sldMk cId="190838501" sldId="2147378699"/>
            <ac:spMk id="13" creationId="{820553A6-BC6E-8438-3B81-A49B23C28ABF}"/>
          </ac:spMkLst>
        </pc:spChg>
        <pc:graphicFrameChg chg="mod modGraphic">
          <ac:chgData name="神谷 聖二" userId="517b2053-71b1-4492-bbd9-c8e4b39141e4" providerId="ADAL" clId="{AAB0666E-E105-4B86-BD4F-FDD5F3321F12}" dt="2024-07-12T07:28:56.557" v="698" actId="14734"/>
          <ac:graphicFrameMkLst>
            <pc:docMk/>
            <pc:sldMk cId="190838501" sldId="2147378699"/>
            <ac:graphicFrameMk id="2" creationId="{5E62C5DD-8E38-39C6-A171-A79017DD18C4}"/>
          </ac:graphicFrameMkLst>
        </pc:graphicFrameChg>
      </pc:sldChg>
      <pc:sldChg chg="modSp mod">
        <pc:chgData name="神谷 聖二" userId="517b2053-71b1-4492-bbd9-c8e4b39141e4" providerId="ADAL" clId="{AAB0666E-E105-4B86-BD4F-FDD5F3321F12}" dt="2024-07-12T07:30:54.997" v="711" actId="2711"/>
        <pc:sldMkLst>
          <pc:docMk/>
          <pc:sldMk cId="959679513" sldId="2147378701"/>
        </pc:sldMkLst>
        <pc:spChg chg="mod">
          <ac:chgData name="神谷 聖二" userId="517b2053-71b1-4492-bbd9-c8e4b39141e4" providerId="ADAL" clId="{AAB0666E-E105-4B86-BD4F-FDD5F3321F12}" dt="2024-07-12T07:24:04.476" v="308" actId="20577"/>
          <ac:spMkLst>
            <pc:docMk/>
            <pc:sldMk cId="959679513" sldId="2147378701"/>
            <ac:spMk id="8" creationId="{71D39E2A-2214-4448-8774-2A3AB120A9B7}"/>
          </ac:spMkLst>
        </pc:spChg>
        <pc:graphicFrameChg chg="mod modGraphic">
          <ac:chgData name="神谷 聖二" userId="517b2053-71b1-4492-bbd9-c8e4b39141e4" providerId="ADAL" clId="{AAB0666E-E105-4B86-BD4F-FDD5F3321F12}" dt="2024-07-12T07:30:54.997" v="711" actId="2711"/>
          <ac:graphicFrameMkLst>
            <pc:docMk/>
            <pc:sldMk cId="959679513" sldId="2147378701"/>
            <ac:graphicFrameMk id="3" creationId="{1E352AD7-4D05-33EE-61E0-3F07FA0F915F}"/>
          </ac:graphicFrameMkLst>
        </pc:graphicFrameChg>
      </pc:sldChg>
      <pc:sldChg chg="modSp mod">
        <pc:chgData name="神谷 聖二" userId="517b2053-71b1-4492-bbd9-c8e4b39141e4" providerId="ADAL" clId="{AAB0666E-E105-4B86-BD4F-FDD5F3321F12}" dt="2024-07-12T07:30:38.095" v="709" actId="2711"/>
        <pc:sldMkLst>
          <pc:docMk/>
          <pc:sldMk cId="444370572" sldId="2147378702"/>
        </pc:sldMkLst>
        <pc:spChg chg="mod">
          <ac:chgData name="神谷 聖二" userId="517b2053-71b1-4492-bbd9-c8e4b39141e4" providerId="ADAL" clId="{AAB0666E-E105-4B86-BD4F-FDD5F3321F12}" dt="2024-07-12T07:27:48.444" v="667" actId="20577"/>
          <ac:spMkLst>
            <pc:docMk/>
            <pc:sldMk cId="444370572" sldId="2147378702"/>
            <ac:spMk id="8" creationId="{D1777F5A-ADD4-8079-B2FB-C275A4CB4350}"/>
          </ac:spMkLst>
        </pc:spChg>
        <pc:graphicFrameChg chg="mod modGraphic">
          <ac:chgData name="神谷 聖二" userId="517b2053-71b1-4492-bbd9-c8e4b39141e4" providerId="ADAL" clId="{AAB0666E-E105-4B86-BD4F-FDD5F3321F12}" dt="2024-07-12T07:30:38.095" v="709" actId="2711"/>
          <ac:graphicFrameMkLst>
            <pc:docMk/>
            <pc:sldMk cId="444370572" sldId="2147378702"/>
            <ac:graphicFrameMk id="4" creationId="{07092873-AD2F-3B69-2A42-020154D983DE}"/>
          </ac:graphicFrameMkLst>
        </pc:graphicFrameChg>
      </pc:sldChg>
      <pc:sldChg chg="modSp mod">
        <pc:chgData name="神谷 聖二" userId="517b2053-71b1-4492-bbd9-c8e4b39141e4" providerId="ADAL" clId="{AAB0666E-E105-4B86-BD4F-FDD5F3321F12}" dt="2024-07-12T07:31:16.267" v="712" actId="255"/>
        <pc:sldMkLst>
          <pc:docMk/>
          <pc:sldMk cId="936371591" sldId="2147378704"/>
        </pc:sldMkLst>
        <pc:graphicFrameChg chg="modGraphic">
          <ac:chgData name="神谷 聖二" userId="517b2053-71b1-4492-bbd9-c8e4b39141e4" providerId="ADAL" clId="{AAB0666E-E105-4B86-BD4F-FDD5F3321F12}" dt="2024-07-12T07:31:16.267" v="712" actId="255"/>
          <ac:graphicFrameMkLst>
            <pc:docMk/>
            <pc:sldMk cId="936371591" sldId="2147378704"/>
            <ac:graphicFrameMk id="2" creationId="{160D2BC7-24B6-9403-A602-4F7ED4041F1F}"/>
          </ac:graphicFrameMkLst>
        </pc:graphicFrameChg>
      </pc:sldChg>
      <pc:sldChg chg="addSp delSp modSp mod">
        <pc:chgData name="神谷 聖二" userId="517b2053-71b1-4492-bbd9-c8e4b39141e4" providerId="ADAL" clId="{AAB0666E-E105-4B86-BD4F-FDD5F3321F12}" dt="2024-07-12T07:42:12.115" v="802" actId="20577"/>
        <pc:sldMkLst>
          <pc:docMk/>
          <pc:sldMk cId="3497080636" sldId="2147378710"/>
        </pc:sldMkLst>
        <pc:spChg chg="add del">
          <ac:chgData name="神谷 聖二" userId="517b2053-71b1-4492-bbd9-c8e4b39141e4" providerId="ADAL" clId="{AAB0666E-E105-4B86-BD4F-FDD5F3321F12}" dt="2024-07-12T07:41:28.771" v="756" actId="22"/>
          <ac:spMkLst>
            <pc:docMk/>
            <pc:sldMk cId="3497080636" sldId="2147378710"/>
            <ac:spMk id="3" creationId="{7DBF9C84-C34D-5A31-B576-5EFF54AED7D1}"/>
          </ac:spMkLst>
        </pc:spChg>
        <pc:spChg chg="add mod">
          <ac:chgData name="神谷 聖二" userId="517b2053-71b1-4492-bbd9-c8e4b39141e4" providerId="ADAL" clId="{AAB0666E-E105-4B86-BD4F-FDD5F3321F12}" dt="2024-07-12T07:42:12.115" v="802" actId="20577"/>
          <ac:spMkLst>
            <pc:docMk/>
            <pc:sldMk cId="3497080636" sldId="2147378710"/>
            <ac:spMk id="4" creationId="{80B6D8FA-FA52-A865-4CFC-504B74113B8E}"/>
          </ac:spMkLst>
        </pc:spChg>
        <pc:picChg chg="mod">
          <ac:chgData name="神谷 聖二" userId="517b2053-71b1-4492-bbd9-c8e4b39141e4" providerId="ADAL" clId="{AAB0666E-E105-4B86-BD4F-FDD5F3321F12}" dt="2024-07-12T07:41:49.169" v="776" actId="1037"/>
          <ac:picMkLst>
            <pc:docMk/>
            <pc:sldMk cId="3497080636" sldId="2147378710"/>
            <ac:picMk id="9" creationId="{E49B5309-848C-8288-7894-63BF86CA0951}"/>
          </ac:picMkLst>
        </pc:picChg>
      </pc:sldChg>
    </pc:docChg>
  </pc:docChgLst>
</pc:chgInfo>
</file>

<file path=ppt/notesMasters/_rels/notesMaster1.xml.rels><?xml version="1.0" encoding="UTF-8" standalone="yes"?><Relationships xmlns="http://schemas.openxmlformats.org/package/2006/relationships"><Relationship Id="rId1" Target="../theme/theme2.xml" Type="http://schemas.openxmlformats.org/officeDocument/2006/relationships/theme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5839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E41466-77DA-46B4-BCF5-532C15AA3816}" type="datetimeFigureOut">
              <a:rPr kumimoji="1" lang="ja-JP" altLang="en-US" smtClean="0"/>
              <a:t>2025/2/10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26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0720" y="4783307"/>
            <a:ext cx="544576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440648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5839" y="9440648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AA94981-7388-44D4-BF25-844A6ED5496F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141556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<Relationships xmlns="http://schemas.openxmlformats.org/package/2006/relationships"><Relationship Id="rId1" Target="../tags/tag3.xml" Type="http://schemas.openxmlformats.org/officeDocument/2006/relationships/tags"/><Relationship Id="rId2" Target="../slideMasters/slideMaster1.xml" Type="http://schemas.openxmlformats.org/officeDocument/2006/relationships/slideMaster"/><Relationship Id="rId3" Target="../embeddings/oleObject2.bin" Type="http://schemas.openxmlformats.org/officeDocument/2006/relationships/oleObject"/><Relationship Id="rId4" Target="../media/image2.png" Type="http://schemas.openxmlformats.org/officeDocument/2006/relationships/image"/></Relationships>
</file>

<file path=ppt/slideLayouts/_rels/slideLayout2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2.png" Type="http://schemas.openxmlformats.org/officeDocument/2006/relationships/image"/></Relationships>
</file>

<file path=ppt/slideLayouts/_rels/slideLayout3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3.png" Type="http://schemas.openxmlformats.org/officeDocument/2006/relationships/image"/><Relationship Id="rId3" Target="../media/image4.png" Type="http://schemas.openxmlformats.org/officeDocument/2006/relationships/image"/><Relationship Id="rId4" Target="../media/image5.png" Type="http://schemas.openxmlformats.org/officeDocument/2006/relationships/image"/></Relationships>
</file>

<file path=ppt/slideLayouts/_rels/slideLayout4.xml.rels><?xml version="1.0" encoding="UTF-8" standalone="yes"?><Relationships xmlns="http://schemas.openxmlformats.org/package/2006/relationships"><Relationship Id="rId1" Target="../tags/tag4.xml" Type="http://schemas.openxmlformats.org/officeDocument/2006/relationships/tags"/><Relationship Id="rId2" Target="../tags/tag5.xml" Type="http://schemas.openxmlformats.org/officeDocument/2006/relationships/tags"/><Relationship Id="rId3" Target="../slideMasters/slideMaster1.xml" Type="http://schemas.openxmlformats.org/officeDocument/2006/relationships/slideMaster"/><Relationship Id="rId4" Target="../embeddings/oleObject3.bin" Type="http://schemas.openxmlformats.org/officeDocument/2006/relationships/oleObject"/><Relationship Id="rId5" Target="../media/image6.emf" Type="http://schemas.openxmlformats.org/officeDocument/2006/relationships/image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_Black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2054197"/>
              </p:ext>
            </p:extLst>
          </p:nvPr>
        </p:nvGraphicFramePr>
        <p:xfrm>
          <a:off x="1" y="3"/>
          <a:ext cx="211666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0" imgH="0" progId="TCLayout.ActiveDocument.1">
                  <p:embed/>
                </p:oleObj>
              </mc:Choice>
              <mc:Fallback>
                <p:oleObj name="think-cell スライド" r:id="rId3" imgW="0" imgH="0" progId="TCLayout.ActiveDocument.1">
                  <p:embed/>
                  <p:pic>
                    <p:nvPicPr>
                      <p:cNvPr id="44" name="Objekt 4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3"/>
                        <a:ext cx="211666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32"/>
          <p:cNvSpPr>
            <a:spLocks noGrp="1"/>
          </p:cNvSpPr>
          <p:nvPr>
            <p:ph type="body" sz="quarter" idx="10" hasCustomPrompt="1"/>
          </p:nvPr>
        </p:nvSpPr>
        <p:spPr>
          <a:xfrm>
            <a:off x="4798549" y="4293096"/>
            <a:ext cx="6626043" cy="467563"/>
          </a:xfrm>
          <a:prstGeom prst="rect">
            <a:avLst/>
          </a:prstGeom>
        </p:spPr>
        <p:txBody>
          <a:bodyPr anchor="ctr" anchorCtr="0"/>
          <a:lstStyle>
            <a:lvl1pPr marL="0" indent="0" algn="r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lang="en-US" sz="1800" b="0" kern="1200" spc="0" baseline="0" dirty="0" smtClean="0">
                <a:solidFill>
                  <a:schemeClr val="tx1"/>
                </a:solidFill>
                <a:latin typeface="+mn-ea"/>
                <a:ea typeface="+mn-ea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167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dirty="0"/>
              <a:t>202</a:t>
            </a:r>
            <a:r>
              <a:rPr lang="ja-JP" altLang="en-US" dirty="0"/>
              <a:t>５</a:t>
            </a:r>
            <a:r>
              <a:rPr lang="en-US" dirty="0"/>
              <a:t>/MM/DD</a:t>
            </a:r>
          </a:p>
        </p:txBody>
      </p:sp>
      <p:sp>
        <p:nvSpPr>
          <p:cNvPr id="24" name="Title 1"/>
          <p:cNvSpPr>
            <a:spLocks noGrp="1"/>
          </p:cNvSpPr>
          <p:nvPr>
            <p:ph type="ctrTitle" hasCustomPrompt="1"/>
          </p:nvPr>
        </p:nvSpPr>
        <p:spPr>
          <a:xfrm>
            <a:off x="767408" y="1498110"/>
            <a:ext cx="10657184" cy="1867389"/>
          </a:xfrm>
          <a:prstGeom prst="rect">
            <a:avLst/>
          </a:prstGeom>
        </p:spPr>
        <p:txBody>
          <a:bodyPr vert="horz" lIns="0" tIns="0" anchor="ctr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kumimoji="1" lang="en-GB" sz="2400" b="1" kern="1200" spc="0" baseline="0" dirty="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1pPr>
          </a:lstStyle>
          <a:p>
            <a:pPr marL="0" lv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</a:pPr>
            <a:r>
              <a:rPr lang="en-US" altLang="ja-JP" dirty="0"/>
              <a:t>FY202</a:t>
            </a:r>
            <a:r>
              <a:rPr lang="ja-JP" altLang="en-US" dirty="0"/>
              <a:t>５</a:t>
            </a:r>
            <a:r>
              <a:rPr lang="en-US" altLang="ja-JP" dirty="0"/>
              <a:t> </a:t>
            </a:r>
            <a:r>
              <a:rPr lang="ja-JP" altLang="en-US" dirty="0"/>
              <a:t>日本版</a:t>
            </a:r>
            <a:r>
              <a:rPr lang="en-US" altLang="ja-JP" dirty="0" err="1"/>
              <a:t>MaaS</a:t>
            </a:r>
            <a:r>
              <a:rPr lang="ja-JP" altLang="en-US" dirty="0"/>
              <a:t>推進・支援事業</a:t>
            </a:r>
            <a:br>
              <a:rPr lang="en-US" altLang="ja-JP" dirty="0"/>
            </a:br>
            <a:r>
              <a:rPr lang="en-US" altLang="ja-JP" dirty="0"/>
              <a:t>【</a:t>
            </a:r>
            <a:r>
              <a:rPr lang="ja-JP" altLang="en-US" dirty="0"/>
              <a:t>プロジェクト名</a:t>
            </a:r>
            <a:r>
              <a:rPr lang="en-US" altLang="ja-JP" dirty="0"/>
              <a:t>】</a:t>
            </a:r>
            <a:br>
              <a:rPr lang="en-US" altLang="ja-JP" dirty="0"/>
            </a:br>
            <a:br>
              <a:rPr lang="en-US" altLang="ja-JP" dirty="0"/>
            </a:br>
            <a:r>
              <a:rPr lang="ja-JP" altLang="en-US" dirty="0"/>
              <a:t>進捗報告書</a:t>
            </a:r>
            <a:endParaRPr lang="en-GB" dirty="0"/>
          </a:p>
        </p:txBody>
      </p:sp>
      <p:sp>
        <p:nvSpPr>
          <p:cNvPr id="25" name="Text Placeholder 32"/>
          <p:cNvSpPr>
            <a:spLocks noGrp="1"/>
          </p:cNvSpPr>
          <p:nvPr>
            <p:ph type="body" sz="quarter" idx="12" hasCustomPrompt="1"/>
          </p:nvPr>
        </p:nvSpPr>
        <p:spPr>
          <a:xfrm>
            <a:off x="4798549" y="4892326"/>
            <a:ext cx="6626043" cy="467563"/>
          </a:xfrm>
          <a:prstGeom prst="rect">
            <a:avLst/>
          </a:prstGeom>
        </p:spPr>
        <p:txBody>
          <a:bodyPr anchor="ctr" anchorCtr="0"/>
          <a:lstStyle>
            <a:lvl1pPr marL="0" indent="0" algn="r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lang="en-US" sz="2000" b="0" kern="1200" spc="0" baseline="0" dirty="0" smtClean="0">
                <a:solidFill>
                  <a:schemeClr val="tx1"/>
                </a:solidFill>
                <a:latin typeface="+mn-ea"/>
                <a:ea typeface="+mn-ea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167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altLang="ja-JP"/>
              <a:t>※</a:t>
            </a:r>
            <a:r>
              <a:rPr lang="ja-JP" altLang="en-US"/>
              <a:t>実施企業名 </a:t>
            </a:r>
            <a:r>
              <a:rPr lang="en-US" altLang="ja-JP"/>
              <a:t>or JV</a:t>
            </a:r>
            <a:r>
              <a:rPr lang="ja-JP" altLang="en-US"/>
              <a:t>名</a:t>
            </a:r>
            <a:endParaRPr lang="en-US"/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A3FB6309-E751-E5DF-C7C2-D7D80856905C}"/>
              </a:ext>
            </a:extLst>
          </p:cNvPr>
          <p:cNvSpPr txBox="1"/>
          <p:nvPr userDrawn="1"/>
        </p:nvSpPr>
        <p:spPr>
          <a:xfrm>
            <a:off x="1166350" y="6577475"/>
            <a:ext cx="317106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900">
                <a:solidFill>
                  <a:schemeClr val="bg1">
                    <a:lumMod val="75000"/>
                  </a:schemeClr>
                </a:solidFill>
              </a:rPr>
              <a:t>Copyright</a:t>
            </a:r>
            <a:r>
              <a:rPr kumimoji="1" lang="ja-JP" altLang="en-US" sz="90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kumimoji="1" lang="en-US" altLang="ja-JP" sz="900">
                <a:solidFill>
                  <a:schemeClr val="bg1">
                    <a:lumMod val="75000"/>
                  </a:schemeClr>
                </a:solidFill>
              </a:rPr>
              <a:t>© 202</a:t>
            </a:r>
            <a:r>
              <a:rPr kumimoji="1" lang="ja-JP" altLang="en-US" sz="900">
                <a:solidFill>
                  <a:schemeClr val="bg1">
                    <a:lumMod val="75000"/>
                  </a:schemeClr>
                </a:solidFill>
              </a:rPr>
              <a:t>５</a:t>
            </a:r>
            <a:r>
              <a:rPr kumimoji="1" lang="en-US" altLang="ja-JP" sz="900" baseline="0">
                <a:solidFill>
                  <a:schemeClr val="bg1">
                    <a:lumMod val="75000"/>
                  </a:schemeClr>
                </a:solidFill>
              </a:rPr>
              <a:t> by MLIT. All rights reserved.</a:t>
            </a:r>
            <a:endParaRPr kumimoji="1" lang="ja-JP" altLang="en-US" sz="900">
              <a:solidFill>
                <a:schemeClr val="bg1">
                  <a:lumMod val="75000"/>
                </a:schemeClr>
              </a:solidFill>
            </a:endParaRPr>
          </a:p>
        </p:txBody>
      </p:sp>
      <p:pic>
        <p:nvPicPr>
          <p:cNvPr id="3" name="図 2">
            <a:extLst>
              <a:ext uri="{FF2B5EF4-FFF2-40B4-BE49-F238E27FC236}">
                <a16:creationId xmlns:a16="http://schemas.microsoft.com/office/drawing/2014/main" id="{98005F8C-E287-4376-1BEE-6B296973F65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029" y="6620891"/>
            <a:ext cx="833142" cy="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53686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ユーザー設定レイアウト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4">
            <a:extLst>
              <a:ext uri="{FF2B5EF4-FFF2-40B4-BE49-F238E27FC236}">
                <a16:creationId xmlns:a16="http://schemas.microsoft.com/office/drawing/2014/main" id="{717826CC-B2A5-429D-07C7-0476B4A427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029" y="6620891"/>
            <a:ext cx="833142" cy="144000"/>
          </a:xfrm>
          <a:prstGeom prst="rect">
            <a:avLst/>
          </a:prstGeom>
        </p:spPr>
      </p:pic>
      <p:sp>
        <p:nvSpPr>
          <p:cNvPr id="6" name="コンテンツ プレースホルダ 2">
            <a:extLst>
              <a:ext uri="{FF2B5EF4-FFF2-40B4-BE49-F238E27FC236}">
                <a16:creationId xmlns:a16="http://schemas.microsoft.com/office/drawing/2014/main" id="{CF473317-4BD6-3380-2257-DAA4110319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2100" y="764704"/>
            <a:ext cx="11595100" cy="5712296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+mj-lt"/>
              </a:defRPr>
            </a:lvl1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822476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4DE403-68E0-47EB-9A36-3C247B164772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  <p:pic>
        <p:nvPicPr>
          <p:cNvPr id="5" name="図 4">
            <a:extLst>
              <a:ext uri="{FF2B5EF4-FFF2-40B4-BE49-F238E27FC236}">
                <a16:creationId xmlns:a16="http://schemas.microsoft.com/office/drawing/2014/main" id="{CC2D3B75-1E1E-42C0-95B7-093E28E912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1592" y="-1079333"/>
            <a:ext cx="637715" cy="576000"/>
          </a:xfrm>
          <a:prstGeom prst="rect">
            <a:avLst/>
          </a:prstGeom>
        </p:spPr>
      </p:pic>
      <p:pic>
        <p:nvPicPr>
          <p:cNvPr id="9" name="図 8">
            <a:extLst>
              <a:ext uri="{FF2B5EF4-FFF2-40B4-BE49-F238E27FC236}">
                <a16:creationId xmlns:a16="http://schemas.microsoft.com/office/drawing/2014/main" id="{6B53F3AF-9540-4A7F-BBF0-5DC8C82749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3952" y="-998742"/>
            <a:ext cx="1704119" cy="324000"/>
          </a:xfrm>
          <a:prstGeom prst="rect">
            <a:avLst/>
          </a:prstGeom>
        </p:spPr>
      </p:pic>
      <p:pic>
        <p:nvPicPr>
          <p:cNvPr id="15" name="図 14">
            <a:extLst>
              <a:ext uri="{FF2B5EF4-FFF2-40B4-BE49-F238E27FC236}">
                <a16:creationId xmlns:a16="http://schemas.microsoft.com/office/drawing/2014/main" id="{3583B3C7-3836-4242-8630-82023414F51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800495" y="3142463"/>
            <a:ext cx="2365453" cy="573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08826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ubhead (top)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78BA5CC5-FD1F-41D5-A62A-5B826C9FC1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3453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90" imgH="605" progId="TCLayout.ActiveDocument.1">
                  <p:embed/>
                </p:oleObj>
              </mc:Choice>
              <mc:Fallback>
                <p:oleObj name="think-cell スライド" r:id="rId4" imgW="590" imgH="605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78BA5CC5-FD1F-41D5-A62A-5B826C9FC1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正方形/長方形 1" hidden="1">
            <a:extLst>
              <a:ext uri="{FF2B5EF4-FFF2-40B4-BE49-F238E27FC236}">
                <a16:creationId xmlns:a16="http://schemas.microsoft.com/office/drawing/2014/main" id="{1808ADB8-0A8A-424A-BB75-AE716B60339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kumimoji="1" lang="en-US" sz="3200" b="1" i="0" baseline="0">
              <a:latin typeface="Meiryo UI" panose="020B0604030504040204" pitchFamily="50" charset="-128"/>
              <a:ea typeface="Meiryo UI" panose="020B0604030504040204" pitchFamily="50" charset="-128"/>
              <a:cs typeface="+mj-cs"/>
              <a:sym typeface="Meiryo UI" panose="020B0604030504040204" pitchFamily="50" charset="-128"/>
            </a:endParaRP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1F5D0AC9-20E5-44AB-A57F-159FD31A7C3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00779" y="1134673"/>
            <a:ext cx="11376000" cy="307777"/>
          </a:xfrm>
          <a:prstGeom prst="rect">
            <a:avLst/>
          </a:prstGeom>
        </p:spPr>
        <p:txBody>
          <a:bodyPr wrap="square" tIns="0" anchor="t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/>
              <a:t>Insert subtitle here at 20pt, align to the baseline of the title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962A254E-2854-48FA-8F65-0066AC7FF3B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00779" y="215626"/>
            <a:ext cx="11376000" cy="415498"/>
          </a:xfrm>
          <a:prstGeom prst="rect">
            <a:avLst/>
          </a:prstGeom>
        </p:spPr>
        <p:txBody>
          <a:bodyPr wrap="square" tIns="0" anchor="ctr">
            <a:spAutoFit/>
          </a:bodyPr>
          <a:lstStyle>
            <a:lvl1pPr marL="0" marR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400" b="1">
                <a:solidFill>
                  <a:schemeClr val="bg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noProof="0"/>
              <a:t>Insert subhead her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4F6B60F4-9919-41FE-A603-015DB9F0B9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779" y="655357"/>
            <a:ext cx="11376000" cy="432000"/>
          </a:xfrm>
          <a:prstGeom prst="rect">
            <a:avLst/>
          </a:prstGeom>
        </p:spPr>
        <p:txBody>
          <a:bodyPr vert="horz" anchor="ctr"/>
          <a:lstStyle>
            <a:lvl1pPr>
              <a:lnSpc>
                <a:spcPct val="80000"/>
              </a:lnSpc>
              <a:defRPr sz="3200" b="1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lang="en-US"/>
              <a:t>Click to edit Master title</a:t>
            </a:r>
            <a:endParaRPr lang="en-GB"/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0C6B6BC9-2B8A-45A2-ABFD-3C7DD87E6848}"/>
              </a:ext>
            </a:extLst>
          </p:cNvPr>
          <p:cNvSpPr txBox="1"/>
          <p:nvPr userDrawn="1"/>
        </p:nvSpPr>
        <p:spPr>
          <a:xfrm>
            <a:off x="11801835" y="6623715"/>
            <a:ext cx="287506" cy="226591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fld id="{989496C2-B50A-F244-A0A1-E3849033C8B1}" type="slidenum">
              <a:rPr lang="en-GB" altLang="ja-JP" sz="1000" smtClean="0">
                <a:solidFill>
                  <a:schemeClr val="bg1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sym typeface="Meiryo UI" panose="020B0604030504040204" pitchFamily="50" charset="-128"/>
              </a:rPr>
              <a:pPr algn="ctr"/>
              <a:t>‹#›</a:t>
            </a:fld>
            <a:endParaRPr kumimoji="1" lang="ja-JP" altLang="en-US" sz="1000" i="1">
              <a:latin typeface="Meiryo UI" panose="020B0604030504040204" pitchFamily="50" charset="-128"/>
              <a:ea typeface="Meiryo UI" panose="020B0604030504040204" pitchFamily="50" charset="-128"/>
              <a:sym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365816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<Relationships xmlns="http://schemas.openxmlformats.org/package/2006/relationships"><Relationship Id="rId1" Target="../slideLayouts/slideLayout1.xml" Type="http://schemas.openxmlformats.org/officeDocument/2006/relationships/slideLayout"/><Relationship Id="rId2" Target="../slideLayouts/slideLayout2.xml" Type="http://schemas.openxmlformats.org/officeDocument/2006/relationships/slideLayout"/><Relationship Id="rId3" Target="../slideLayouts/slideLayout3.xml" Type="http://schemas.openxmlformats.org/officeDocument/2006/relationships/slideLayout"/><Relationship Id="rId4" Target="../slideLayouts/slideLayout4.xml" Type="http://schemas.openxmlformats.org/officeDocument/2006/relationships/slideLayout"/><Relationship Id="rId5" Target="../theme/theme1.xml" Type="http://schemas.openxmlformats.org/officeDocument/2006/relationships/theme"/><Relationship Id="rId6" Target="../tags/tag2.xml" Type="http://schemas.openxmlformats.org/officeDocument/2006/relationships/tags"/><Relationship Id="rId7" Target="../embeddings/oleObject1.bin" Type="http://schemas.openxmlformats.org/officeDocument/2006/relationships/oleObject"/><Relationship Id="rId8" Target="../media/image1.emf" Type="http://schemas.openxmlformats.org/officeDocument/2006/relationships/image"/><Relationship Id="rId9" Target="../media/image2.png" Type="http://schemas.openxmlformats.org/officeDocument/2006/relationships/image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D7D6AE8-0AE8-AE92-3DEF-3A63419E8C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6817134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408" imgH="408" progId="TCLayout.ActiveDocument.1">
                  <p:embed/>
                </p:oleObj>
              </mc:Choice>
              <mc:Fallback>
                <p:oleObj name="think-cell スライド" r:id="rId7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7D6AE8-0AE8-AE92-3DEF-3A63419E8C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712624" y="6597352"/>
            <a:ext cx="479376" cy="2602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900">
                <a:latin typeface="Noto Sans JP"/>
                <a:ea typeface="ＭＳ Ｐゴシック" pitchFamily="50" charset="-128"/>
              </a:defRPr>
            </a:lvl1pPr>
          </a:lstStyle>
          <a:p>
            <a:pPr>
              <a:defRPr/>
            </a:pPr>
            <a:fld id="{FFDCE21E-3BF4-4A13-BE4A-B95BE9787BE2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  <p:sp>
        <p:nvSpPr>
          <p:cNvPr id="38" name="テキスト プレースホルダー 37">
            <a:extLst>
              <a:ext uri="{FF2B5EF4-FFF2-40B4-BE49-F238E27FC236}">
                <a16:creationId xmlns:a16="http://schemas.microsoft.com/office/drawing/2014/main" id="{1ECE4958-08A0-BD8D-7D5D-D4A7BB6A39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92100" y="2133600"/>
            <a:ext cx="11595100" cy="4343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87D0FF6D-A520-87F6-851A-32670B6B9442}"/>
              </a:ext>
            </a:extLst>
          </p:cNvPr>
          <p:cNvSpPr txBox="1"/>
          <p:nvPr userDrawn="1"/>
        </p:nvSpPr>
        <p:spPr>
          <a:xfrm>
            <a:off x="1166350" y="6577475"/>
            <a:ext cx="317106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900">
                <a:solidFill>
                  <a:schemeClr val="bg1">
                    <a:lumMod val="75000"/>
                  </a:schemeClr>
                </a:solidFill>
              </a:rPr>
              <a:t>Copyright</a:t>
            </a:r>
            <a:r>
              <a:rPr kumimoji="1" lang="ja-JP" altLang="en-US" sz="90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kumimoji="1" lang="en-US" altLang="ja-JP" sz="900">
                <a:solidFill>
                  <a:schemeClr val="bg1">
                    <a:lumMod val="75000"/>
                  </a:schemeClr>
                </a:solidFill>
              </a:rPr>
              <a:t>© 202</a:t>
            </a:r>
            <a:r>
              <a:rPr kumimoji="1" lang="ja-JP" altLang="en-US" sz="900">
                <a:solidFill>
                  <a:schemeClr val="bg1">
                    <a:lumMod val="75000"/>
                  </a:schemeClr>
                </a:solidFill>
              </a:rPr>
              <a:t>５</a:t>
            </a:r>
            <a:r>
              <a:rPr kumimoji="1" lang="en-US" altLang="ja-JP" sz="900" baseline="0">
                <a:solidFill>
                  <a:schemeClr val="bg1">
                    <a:lumMod val="75000"/>
                  </a:schemeClr>
                </a:solidFill>
              </a:rPr>
              <a:t> by MLIT. All rights reserved.</a:t>
            </a:r>
            <a:endParaRPr kumimoji="1" lang="ja-JP" altLang="en-US" sz="900">
              <a:solidFill>
                <a:schemeClr val="bg1">
                  <a:lumMod val="75000"/>
                </a:schemeClr>
              </a:solidFill>
            </a:endParaRPr>
          </a:p>
        </p:txBody>
      </p:sp>
      <p:pic>
        <p:nvPicPr>
          <p:cNvPr id="4" name="図 3">
            <a:extLst>
              <a:ext uri="{FF2B5EF4-FFF2-40B4-BE49-F238E27FC236}">
                <a16:creationId xmlns:a16="http://schemas.microsoft.com/office/drawing/2014/main" id="{C12C3DD6-97B4-BE5F-B436-9C7F3023ECB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029" y="6620891"/>
            <a:ext cx="833142" cy="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20038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9" r:id="rId2"/>
    <p:sldLayoutId id="2147483760" r:id="rId3"/>
    <p:sldLayoutId id="2147483761" r:id="rId4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1950">
          <a:solidFill>
            <a:srgbClr val="4087C8"/>
          </a:solidFill>
          <a:latin typeface="游ゴシック Medium" panose="020B0500000000000000" pitchFamily="50" charset="-128"/>
          <a:ea typeface="游ゴシック Medium" panose="020B0500000000000000" pitchFamily="50" charset="-128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227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227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227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227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5pPr>
      <a:lvl6pPr marL="371475" algn="l" rtl="0" eaLnBrk="1" fontAlgn="base" hangingPunct="1">
        <a:spcBef>
          <a:spcPct val="0"/>
        </a:spcBef>
        <a:spcAft>
          <a:spcPct val="0"/>
        </a:spcAft>
        <a:defRPr kumimoji="1" sz="227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6pPr>
      <a:lvl7pPr marL="742950" algn="l" rtl="0" eaLnBrk="1" fontAlgn="base" hangingPunct="1">
        <a:spcBef>
          <a:spcPct val="0"/>
        </a:spcBef>
        <a:spcAft>
          <a:spcPct val="0"/>
        </a:spcAft>
        <a:defRPr kumimoji="1" sz="227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7pPr>
      <a:lvl8pPr marL="1114425" algn="l" rtl="0" eaLnBrk="1" fontAlgn="base" hangingPunct="1">
        <a:spcBef>
          <a:spcPct val="0"/>
        </a:spcBef>
        <a:spcAft>
          <a:spcPct val="0"/>
        </a:spcAft>
        <a:defRPr kumimoji="1" sz="227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8pPr>
      <a:lvl9pPr marL="1485900" algn="l" rtl="0" eaLnBrk="1" fontAlgn="base" hangingPunct="1">
        <a:spcBef>
          <a:spcPct val="0"/>
        </a:spcBef>
        <a:spcAft>
          <a:spcPct val="0"/>
        </a:spcAft>
        <a:defRPr kumimoji="1" sz="2275">
          <a:solidFill>
            <a:srgbClr val="4087C8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278606" indent="-278606" algn="l" rtl="0" eaLnBrk="1" fontAlgn="base" hangingPunct="1">
        <a:spcBef>
          <a:spcPct val="20000"/>
        </a:spcBef>
        <a:spcAft>
          <a:spcPct val="0"/>
        </a:spcAft>
        <a:buChar char="•"/>
        <a:defRPr kumimoji="1" sz="1600">
          <a:solidFill>
            <a:schemeClr val="tx1"/>
          </a:solidFill>
          <a:latin typeface="+mn-lt"/>
          <a:ea typeface="游ゴシック" panose="020B0400000000000000" pitchFamily="50" charset="-128"/>
          <a:cs typeface="+mn-cs"/>
        </a:defRPr>
      </a:lvl1pPr>
      <a:lvl2pPr marL="603647" indent="-232172" algn="l" rtl="0" eaLnBrk="1" fontAlgn="base" hangingPunct="1">
        <a:spcBef>
          <a:spcPct val="20000"/>
        </a:spcBef>
        <a:spcAft>
          <a:spcPct val="0"/>
        </a:spcAft>
        <a:buChar char="–"/>
        <a:defRPr kumimoji="1" sz="1400">
          <a:solidFill>
            <a:schemeClr val="tx1"/>
          </a:solidFill>
          <a:latin typeface="+mn-lt"/>
          <a:ea typeface="+mn-ea"/>
        </a:defRPr>
      </a:lvl2pPr>
      <a:lvl3pPr marL="928688" indent="-185738" algn="l" rtl="0" eaLnBrk="1" fontAlgn="base" hangingPunct="1">
        <a:spcBef>
          <a:spcPct val="20000"/>
        </a:spcBef>
        <a:spcAft>
          <a:spcPct val="0"/>
        </a:spcAft>
        <a:buChar char="•"/>
        <a:defRPr kumimoji="1" sz="1400">
          <a:solidFill>
            <a:schemeClr val="tx1"/>
          </a:solidFill>
          <a:latin typeface="+mn-lt"/>
          <a:ea typeface="+mn-ea"/>
        </a:defRPr>
      </a:lvl3pPr>
      <a:lvl4pPr marL="1300163" indent="-185738" algn="l" rtl="0" eaLnBrk="1" fontAlgn="base" hangingPunct="1">
        <a:spcBef>
          <a:spcPct val="20000"/>
        </a:spcBef>
        <a:spcAft>
          <a:spcPct val="0"/>
        </a:spcAft>
        <a:buChar char="–"/>
        <a:defRPr kumimoji="1" sz="1400">
          <a:solidFill>
            <a:schemeClr val="tx1"/>
          </a:solidFill>
          <a:latin typeface="+mn-lt"/>
          <a:ea typeface="+mn-ea"/>
        </a:defRPr>
      </a:lvl4pPr>
      <a:lvl5pPr marL="1671638" indent="-185738" algn="l" rtl="0" eaLnBrk="1" fontAlgn="base" hangingPunct="1">
        <a:spcBef>
          <a:spcPct val="20000"/>
        </a:spcBef>
        <a:spcAft>
          <a:spcPct val="0"/>
        </a:spcAft>
        <a:buChar char="»"/>
        <a:defRPr kumimoji="1" sz="1400">
          <a:solidFill>
            <a:schemeClr val="tx1"/>
          </a:solidFill>
          <a:latin typeface="+mn-lt"/>
          <a:ea typeface="+mn-ea"/>
        </a:defRPr>
      </a:lvl5pPr>
      <a:lvl6pPr marL="2043113" indent="-185738" algn="l" rtl="0" eaLnBrk="1" fontAlgn="base" hangingPunct="1">
        <a:spcBef>
          <a:spcPct val="20000"/>
        </a:spcBef>
        <a:spcAft>
          <a:spcPct val="0"/>
        </a:spcAft>
        <a:buChar char="»"/>
        <a:defRPr kumimoji="1" sz="1625">
          <a:solidFill>
            <a:schemeClr val="tx1"/>
          </a:solidFill>
          <a:latin typeface="+mn-lt"/>
          <a:ea typeface="+mn-ea"/>
        </a:defRPr>
      </a:lvl6pPr>
      <a:lvl7pPr marL="2414588" indent="-185738" algn="l" rtl="0" eaLnBrk="1" fontAlgn="base" hangingPunct="1">
        <a:spcBef>
          <a:spcPct val="20000"/>
        </a:spcBef>
        <a:spcAft>
          <a:spcPct val="0"/>
        </a:spcAft>
        <a:buChar char="»"/>
        <a:defRPr kumimoji="1" sz="1625">
          <a:solidFill>
            <a:schemeClr val="tx1"/>
          </a:solidFill>
          <a:latin typeface="+mn-lt"/>
          <a:ea typeface="+mn-ea"/>
        </a:defRPr>
      </a:lvl7pPr>
      <a:lvl8pPr marL="2786063" indent="-185738" algn="l" rtl="0" eaLnBrk="1" fontAlgn="base" hangingPunct="1">
        <a:spcBef>
          <a:spcPct val="20000"/>
        </a:spcBef>
        <a:spcAft>
          <a:spcPct val="0"/>
        </a:spcAft>
        <a:buChar char="»"/>
        <a:defRPr kumimoji="1" sz="1625">
          <a:solidFill>
            <a:schemeClr val="tx1"/>
          </a:solidFill>
          <a:latin typeface="+mn-lt"/>
          <a:ea typeface="+mn-ea"/>
        </a:defRPr>
      </a:lvl8pPr>
      <a:lvl9pPr marL="3157538" indent="-185738" algn="l" rtl="0" eaLnBrk="1" fontAlgn="base" hangingPunct="1">
        <a:spcBef>
          <a:spcPct val="20000"/>
        </a:spcBef>
        <a:spcAft>
          <a:spcPct val="0"/>
        </a:spcAft>
        <a:buChar char="»"/>
        <a:defRPr kumimoji="1" sz="1625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44">
          <p15:clr>
            <a:srgbClr val="F26B43"/>
          </p15:clr>
        </p15:guide>
        <p15:guide id="2" pos="179">
          <p15:clr>
            <a:srgbClr val="F26B43"/>
          </p15:clr>
        </p15:guide>
        <p15:guide id="3" pos="7494">
          <p15:clr>
            <a:srgbClr val="F26B43"/>
          </p15:clr>
        </p15:guide>
        <p15:guide id="4" orient="horz" pos="40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<Relationships xmlns="http://schemas.openxmlformats.org/package/2006/relationships"><Relationship Id="rId1" Target="../slideLayouts/slideLayout4.xml" Type="http://schemas.openxmlformats.org/officeDocument/2006/relationships/slideLayout"/></Relationships>
</file>

<file path=ppt/slides/_rels/slide2.xml.rels><?xml version="1.0" encoding="UTF-8" standalone="yes"?><Relationships xmlns="http://schemas.openxmlformats.org/package/2006/relationships"><Relationship Id="rId1" Target="../slideLayouts/slideLayout4.xml" Type="http://schemas.openxmlformats.org/officeDocument/2006/relationships/slideLayout"/></Relationships>
</file>

<file path=ppt/slides/_rels/slide3.xml.rels><?xml version="1.0" encoding="UTF-8" standalone="yes"?><Relationships xmlns="http://schemas.openxmlformats.org/package/2006/relationships"><Relationship Id="rId1" Target="../slideLayouts/slideLayout4.xml" Type="http://schemas.openxmlformats.org/officeDocument/2006/relationships/slideLayout"/></Relationships>
</file>

<file path=ppt/slides/_rels/slide4.xml.rels><?xml version="1.0" encoding="UTF-8" standalone="yes"?><Relationships xmlns="http://schemas.openxmlformats.org/package/2006/relationships"><Relationship Id="rId1" Target="../slideLayouts/slideLayout4.xml" Type="http://schemas.openxmlformats.org/officeDocument/2006/relationships/slideLayout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テキスト プレースホルダー 1">
            <a:extLst>
              <a:ext uri="{FF2B5EF4-FFF2-40B4-BE49-F238E27FC236}">
                <a16:creationId xmlns:a16="http://schemas.microsoft.com/office/drawing/2014/main" id="{02EB99B5-F15E-5918-8C4B-95B5DE8DC4E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00779" y="1134673"/>
            <a:ext cx="11376000" cy="353943"/>
          </a:xfrm>
        </p:spPr>
        <p:txBody>
          <a:bodyPr/>
          <a:lstStyle/>
          <a:p>
            <a:r>
              <a:rPr kumimoji="1" lang="en-US" altLang="ja-JP"/>
              <a:t>1. </a:t>
            </a:r>
            <a:r>
              <a:rPr lang="en-US" altLang="ja-JP"/>
              <a:t>XX</a:t>
            </a:r>
            <a:r>
              <a:rPr kumimoji="1" lang="ja-JP" altLang="en-US"/>
              <a:t>月までの進捗報告（基本設計）</a:t>
            </a:r>
            <a:endParaRPr kumimoji="1" lang="en-US" altLang="ja-JP"/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C5333301-1A63-B710-1509-005FC55AF02B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r>
              <a:rPr kumimoji="1" lang="ja-JP" altLang="en-US"/>
              <a:t>プロジェクトの進捗報告（</a:t>
            </a:r>
            <a:r>
              <a:rPr kumimoji="1" lang="en-US" altLang="ja-JP"/>
              <a:t>XX</a:t>
            </a:r>
            <a:r>
              <a:rPr kumimoji="1" lang="ja-JP" altLang="en-US"/>
              <a:t>月）</a:t>
            </a:r>
          </a:p>
        </p:txBody>
      </p:sp>
      <p:sp>
        <p:nvSpPr>
          <p:cNvPr id="4" name="タイトル 3">
            <a:extLst>
              <a:ext uri="{FF2B5EF4-FFF2-40B4-BE49-F238E27FC236}">
                <a16:creationId xmlns:a16="http://schemas.microsoft.com/office/drawing/2014/main" id="{F83E8D46-A06C-D27F-30D4-47F99B1A07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プロジェクト進捗</a:t>
            </a:r>
          </a:p>
        </p:txBody>
      </p:sp>
      <p:graphicFrame>
        <p:nvGraphicFramePr>
          <p:cNvPr id="7" name="表 7">
            <a:extLst>
              <a:ext uri="{FF2B5EF4-FFF2-40B4-BE49-F238E27FC236}">
                <a16:creationId xmlns:a16="http://schemas.microsoft.com/office/drawing/2014/main" id="{51BF938D-C177-A844-2103-F1E47DDCCC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7370001"/>
              </p:ext>
            </p:extLst>
          </p:nvPr>
        </p:nvGraphicFramePr>
        <p:xfrm>
          <a:off x="502626" y="1574800"/>
          <a:ext cx="11174153" cy="2762377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2395200">
                  <a:extLst>
                    <a:ext uri="{9D8B030D-6E8A-4147-A177-3AD203B41FA5}">
                      <a16:colId xmlns:a16="http://schemas.microsoft.com/office/drawing/2014/main" val="3604321607"/>
                    </a:ext>
                  </a:extLst>
                </a:gridCol>
                <a:gridCol w="1112700">
                  <a:extLst>
                    <a:ext uri="{9D8B030D-6E8A-4147-A177-3AD203B41FA5}">
                      <a16:colId xmlns:a16="http://schemas.microsoft.com/office/drawing/2014/main" val="3684171274"/>
                    </a:ext>
                  </a:extLst>
                </a:gridCol>
                <a:gridCol w="617621">
                  <a:extLst>
                    <a:ext uri="{9D8B030D-6E8A-4147-A177-3AD203B41FA5}">
                      <a16:colId xmlns:a16="http://schemas.microsoft.com/office/drawing/2014/main" val="1502306167"/>
                    </a:ext>
                  </a:extLst>
                </a:gridCol>
                <a:gridCol w="7048632">
                  <a:extLst>
                    <a:ext uri="{9D8B030D-6E8A-4147-A177-3AD203B41FA5}">
                      <a16:colId xmlns:a16="http://schemas.microsoft.com/office/drawing/2014/main" val="291198889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kumimoji="1" lang="ja-JP" altLang="en-US" dirty="0"/>
                        <a:t>進捗項目</a:t>
                      </a:r>
                    </a:p>
                  </a:txBody>
                  <a:tcPr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/>
                        <a:t>ステータス</a:t>
                      </a:r>
                    </a:p>
                  </a:txBody>
                  <a:tcPr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/>
                        <a:t>遅れ</a:t>
                      </a:r>
                    </a:p>
                  </a:txBody>
                  <a:tcPr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/>
                        <a:t>説明</a:t>
                      </a:r>
                    </a:p>
                  </a:txBody>
                  <a:tcPr>
                    <a:solidFill>
                      <a:schemeClr val="accent1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25866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>
                          <a:solidFill>
                            <a:srgbClr val="0070C0"/>
                          </a:solidFill>
                        </a:rPr>
                        <a:t>(</a:t>
                      </a:r>
                      <a:r>
                        <a:rPr kumimoji="1" lang="ja-JP" altLang="en-US">
                          <a:solidFill>
                            <a:srgbClr val="0070C0"/>
                          </a:solidFill>
                        </a:rPr>
                        <a:t>例）ワイヤーフレーム設計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ja-JP" altLang="en-US">
                          <a:solidFill>
                            <a:srgbClr val="0070C0"/>
                          </a:solidFill>
                        </a:rPr>
                        <a:t>完了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63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BIZ UDPゴシック"/>
                          <a:ea typeface="BIZ UDPゴシック"/>
                          <a:cs typeface="+mn-cs"/>
                        </a:rPr>
                        <a:t>無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dirty="0">
                          <a:solidFill>
                            <a:srgbClr val="0070C0"/>
                          </a:solidFill>
                        </a:rPr>
                        <a:t>●●地域で実装済みのワイヤーフレームを本事業版にアレンジし、</a:t>
                      </a:r>
                      <a:r>
                        <a:rPr kumimoji="1" lang="en-US" altLang="ja-JP" dirty="0">
                          <a:solidFill>
                            <a:srgbClr val="0070C0"/>
                          </a:solidFill>
                        </a:rPr>
                        <a:t>UI/UX</a:t>
                      </a:r>
                      <a:r>
                        <a:rPr kumimoji="1" lang="ja-JP" altLang="en-US" dirty="0">
                          <a:solidFill>
                            <a:srgbClr val="0070C0"/>
                          </a:solidFill>
                        </a:rPr>
                        <a:t>の流れに沿って情報設計が適正であるかどうか確認を行う。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786453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ja-JP" altLang="en-US" dirty="0">
                          <a:solidFill>
                            <a:srgbClr val="0070C0"/>
                          </a:solidFill>
                        </a:rPr>
                        <a:t>環境構築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63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BIZ UDPゴシック"/>
                          <a:ea typeface="BIZ UDPゴシック"/>
                          <a:cs typeface="+mn-cs"/>
                        </a:rPr>
                        <a:t>実施中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63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BIZ UDPゴシック"/>
                          <a:ea typeface="BIZ UDPゴシック"/>
                          <a:cs typeface="+mn-cs"/>
                        </a:rPr>
                        <a:t>有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ja-JP" altLang="en-US" dirty="0">
                          <a:solidFill>
                            <a:srgbClr val="0070C0"/>
                          </a:solidFill>
                        </a:rPr>
                        <a:t>システム構築するための開発環境の構築。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400422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kumimoji="1" lang="ja-JP" altLang="en-US" dirty="0">
                        <a:solidFill>
                          <a:srgbClr val="0070C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463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uLnTx/>
                        <a:uFillTx/>
                        <a:latin typeface="BIZ UDPゴシック"/>
                        <a:ea typeface="BIZ UDPゴシック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463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uLnTx/>
                        <a:uFillTx/>
                        <a:latin typeface="BIZ UDPゴシック"/>
                        <a:ea typeface="BIZ UDPゴシック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>
                        <a:solidFill>
                          <a:srgbClr val="0070C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261074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kumimoji="1" lang="ja-JP" altLang="en-US">
                        <a:solidFill>
                          <a:srgbClr val="0070C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463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uLnTx/>
                        <a:uFillTx/>
                        <a:latin typeface="BIZ UDPゴシック"/>
                        <a:ea typeface="BIZ UDPゴシック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463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uLnTx/>
                        <a:uFillTx/>
                        <a:latin typeface="BIZ UDPゴシック"/>
                        <a:ea typeface="BIZ UDPゴシック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>
                        <a:solidFill>
                          <a:srgbClr val="0070C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36731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kumimoji="1" lang="ja-JP" altLang="en-US">
                        <a:solidFill>
                          <a:srgbClr val="0070C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463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uLnTx/>
                        <a:uFillTx/>
                        <a:latin typeface="BIZ UDPゴシック"/>
                        <a:ea typeface="BIZ UDPゴシック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463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uLnTx/>
                        <a:uFillTx/>
                        <a:latin typeface="BIZ UDPゴシック"/>
                        <a:ea typeface="BIZ UDPゴシック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>
                        <a:solidFill>
                          <a:srgbClr val="0070C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250048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kumimoji="1" lang="ja-JP" altLang="en-US">
                        <a:solidFill>
                          <a:srgbClr val="0070C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463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uLnTx/>
                        <a:uFillTx/>
                        <a:latin typeface="BIZ UDPゴシック"/>
                        <a:ea typeface="BIZ UDPゴシック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463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uLnTx/>
                        <a:uFillTx/>
                        <a:latin typeface="BIZ UDPゴシック"/>
                        <a:ea typeface="BIZ UDPゴシック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dirty="0">
                        <a:solidFill>
                          <a:srgbClr val="0070C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193182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90471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テキスト プレースホルダー 1">
            <a:extLst>
              <a:ext uri="{FF2B5EF4-FFF2-40B4-BE49-F238E27FC236}">
                <a16:creationId xmlns:a16="http://schemas.microsoft.com/office/drawing/2014/main" id="{02EB99B5-F15E-5918-8C4B-95B5DE8DC4E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00779" y="1134673"/>
            <a:ext cx="11376000" cy="353943"/>
          </a:xfrm>
        </p:spPr>
        <p:txBody>
          <a:bodyPr/>
          <a:lstStyle/>
          <a:p>
            <a:r>
              <a:rPr kumimoji="1" lang="en-US" altLang="ja-JP" dirty="0"/>
              <a:t>1. </a:t>
            </a:r>
            <a:r>
              <a:rPr lang="en-US" altLang="ja-JP" dirty="0"/>
              <a:t>XX</a:t>
            </a:r>
            <a:r>
              <a:rPr kumimoji="1" lang="ja-JP" altLang="en-US" dirty="0"/>
              <a:t>月までの進捗報告（システム開発［データ可視化ツール］）</a:t>
            </a:r>
            <a:endParaRPr kumimoji="1" lang="en-US" altLang="ja-JP" dirty="0"/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C5333301-1A63-B710-1509-005FC55AF02B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r>
              <a:rPr kumimoji="1" lang="ja-JP" altLang="en-US"/>
              <a:t>プロジェクトの進捗報告（</a:t>
            </a:r>
            <a:r>
              <a:rPr kumimoji="1" lang="en-US" altLang="ja-JP"/>
              <a:t>XX</a:t>
            </a:r>
            <a:r>
              <a:rPr kumimoji="1" lang="ja-JP" altLang="en-US"/>
              <a:t>月）</a:t>
            </a:r>
          </a:p>
        </p:txBody>
      </p:sp>
      <p:sp>
        <p:nvSpPr>
          <p:cNvPr id="4" name="タイトル 3">
            <a:extLst>
              <a:ext uri="{FF2B5EF4-FFF2-40B4-BE49-F238E27FC236}">
                <a16:creationId xmlns:a16="http://schemas.microsoft.com/office/drawing/2014/main" id="{F83E8D46-A06C-D27F-30D4-47F99B1A07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プロジェクト進捗</a:t>
            </a:r>
          </a:p>
        </p:txBody>
      </p:sp>
      <p:graphicFrame>
        <p:nvGraphicFramePr>
          <p:cNvPr id="7" name="表 7">
            <a:extLst>
              <a:ext uri="{FF2B5EF4-FFF2-40B4-BE49-F238E27FC236}">
                <a16:creationId xmlns:a16="http://schemas.microsoft.com/office/drawing/2014/main" id="{51BF938D-C177-A844-2103-F1E47DDCCC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9837597"/>
              </p:ext>
            </p:extLst>
          </p:nvPr>
        </p:nvGraphicFramePr>
        <p:xfrm>
          <a:off x="502626" y="1574800"/>
          <a:ext cx="11174153" cy="2724531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2395200">
                  <a:extLst>
                    <a:ext uri="{9D8B030D-6E8A-4147-A177-3AD203B41FA5}">
                      <a16:colId xmlns:a16="http://schemas.microsoft.com/office/drawing/2014/main" val="3604321607"/>
                    </a:ext>
                  </a:extLst>
                </a:gridCol>
                <a:gridCol w="1112700">
                  <a:extLst>
                    <a:ext uri="{9D8B030D-6E8A-4147-A177-3AD203B41FA5}">
                      <a16:colId xmlns:a16="http://schemas.microsoft.com/office/drawing/2014/main" val="3684171274"/>
                    </a:ext>
                  </a:extLst>
                </a:gridCol>
                <a:gridCol w="617621">
                  <a:extLst>
                    <a:ext uri="{9D8B030D-6E8A-4147-A177-3AD203B41FA5}">
                      <a16:colId xmlns:a16="http://schemas.microsoft.com/office/drawing/2014/main" val="1502306167"/>
                    </a:ext>
                  </a:extLst>
                </a:gridCol>
                <a:gridCol w="7048632">
                  <a:extLst>
                    <a:ext uri="{9D8B030D-6E8A-4147-A177-3AD203B41FA5}">
                      <a16:colId xmlns:a16="http://schemas.microsoft.com/office/drawing/2014/main" val="291198889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kumimoji="1" lang="ja-JP" altLang="en-US" dirty="0"/>
                        <a:t>進捗項目</a:t>
                      </a:r>
                    </a:p>
                  </a:txBody>
                  <a:tcPr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/>
                        <a:t>ステータス</a:t>
                      </a:r>
                    </a:p>
                  </a:txBody>
                  <a:tcPr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/>
                        <a:t>遅れ</a:t>
                      </a:r>
                    </a:p>
                  </a:txBody>
                  <a:tcPr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dirty="0"/>
                        <a:t>説明</a:t>
                      </a:r>
                    </a:p>
                  </a:txBody>
                  <a:tcPr>
                    <a:solidFill>
                      <a:schemeClr val="accent1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25866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>
                          <a:solidFill>
                            <a:srgbClr val="0070C0"/>
                          </a:solidFill>
                        </a:rPr>
                        <a:t>【</a:t>
                      </a:r>
                      <a:r>
                        <a:rPr kumimoji="1" lang="ja-JP" altLang="en-US" dirty="0">
                          <a:solidFill>
                            <a:srgbClr val="0070C0"/>
                          </a:solidFill>
                        </a:rPr>
                        <a:t>データ可視化ツール</a:t>
                      </a:r>
                      <a:r>
                        <a:rPr kumimoji="1" lang="en-US" altLang="ja-JP" dirty="0">
                          <a:solidFill>
                            <a:srgbClr val="0070C0"/>
                          </a:solidFill>
                        </a:rPr>
                        <a:t>】</a:t>
                      </a:r>
                    </a:p>
                    <a:p>
                      <a:r>
                        <a:rPr kumimoji="1" lang="ja-JP" altLang="en-US" dirty="0">
                          <a:solidFill>
                            <a:srgbClr val="0070C0"/>
                          </a:solidFill>
                        </a:rPr>
                        <a:t>バックエンド開発</a:t>
                      </a:r>
                      <a:endParaRPr kumimoji="1" lang="en-US" altLang="ja-JP" dirty="0">
                        <a:solidFill>
                          <a:srgbClr val="0070C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ja-JP" altLang="en-US" dirty="0">
                          <a:solidFill>
                            <a:srgbClr val="0070C0"/>
                          </a:solidFill>
                        </a:rPr>
                        <a:t>完了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63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BIZ UDPゴシック"/>
                          <a:ea typeface="BIZ UDPゴシック"/>
                          <a:cs typeface="+mn-cs"/>
                        </a:rPr>
                        <a:t>無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>
                          <a:solidFill>
                            <a:srgbClr val="0070C0"/>
                          </a:solidFill>
                        </a:rPr>
                        <a:t>-</a:t>
                      </a:r>
                      <a:endParaRPr kumimoji="1" lang="ja-JP" altLang="en-US" dirty="0">
                        <a:solidFill>
                          <a:srgbClr val="0070C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786453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>
                          <a:solidFill>
                            <a:srgbClr val="0070C0"/>
                          </a:solidFill>
                        </a:rPr>
                        <a:t>【</a:t>
                      </a:r>
                      <a:r>
                        <a:rPr kumimoji="1" lang="ja-JP" altLang="en-US" dirty="0">
                          <a:solidFill>
                            <a:srgbClr val="0070C0"/>
                          </a:solidFill>
                        </a:rPr>
                        <a:t>データ可視化ツール</a:t>
                      </a:r>
                      <a:r>
                        <a:rPr kumimoji="1" lang="en-US" altLang="ja-JP" dirty="0">
                          <a:solidFill>
                            <a:srgbClr val="0070C0"/>
                          </a:solidFill>
                        </a:rPr>
                        <a:t>】</a:t>
                      </a:r>
                    </a:p>
                    <a:p>
                      <a:r>
                        <a:rPr kumimoji="1" lang="ja-JP" altLang="en-US" dirty="0">
                          <a:solidFill>
                            <a:srgbClr val="0070C0"/>
                          </a:solidFill>
                        </a:rPr>
                        <a:t>フロントエンド開発</a:t>
                      </a:r>
                      <a:endParaRPr kumimoji="1" lang="en-US" altLang="ja-JP" dirty="0">
                        <a:solidFill>
                          <a:srgbClr val="0070C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63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BIZ UDPゴシック"/>
                          <a:ea typeface="BIZ UDPゴシック"/>
                          <a:cs typeface="+mn-cs"/>
                        </a:rPr>
                        <a:t>実施中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63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無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>
                          <a:solidFill>
                            <a:srgbClr val="0070C0"/>
                          </a:solidFill>
                        </a:rPr>
                        <a:t>-</a:t>
                      </a:r>
                      <a:endParaRPr kumimoji="1" lang="ja-JP" altLang="en-US" dirty="0">
                        <a:solidFill>
                          <a:srgbClr val="0070C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400422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en-US" altLang="ja-JP" dirty="0">
                          <a:solidFill>
                            <a:srgbClr val="0070C0"/>
                          </a:solidFill>
                        </a:rPr>
                        <a:t>【</a:t>
                      </a:r>
                      <a:r>
                        <a:rPr kumimoji="1" lang="ja-JP" altLang="en-US" dirty="0">
                          <a:solidFill>
                            <a:srgbClr val="0070C0"/>
                          </a:solidFill>
                        </a:rPr>
                        <a:t>データ可視化ツール</a:t>
                      </a:r>
                      <a:r>
                        <a:rPr kumimoji="1" lang="en-US" altLang="ja-JP" dirty="0">
                          <a:solidFill>
                            <a:srgbClr val="0070C0"/>
                          </a:solidFill>
                        </a:rPr>
                        <a:t>】</a:t>
                      </a:r>
                    </a:p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dirty="0">
                          <a:solidFill>
                            <a:srgbClr val="0070C0"/>
                          </a:solidFill>
                        </a:rPr>
                        <a:t>内部結合テスト</a:t>
                      </a:r>
                      <a:endParaRPr kumimoji="1" lang="en-US" altLang="ja-JP" dirty="0">
                        <a:solidFill>
                          <a:srgbClr val="0070C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63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BIZ UDPゴシック"/>
                          <a:ea typeface="BIZ UDPゴシック"/>
                          <a:cs typeface="+mn-cs"/>
                        </a:rPr>
                        <a:t>未実施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63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無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>
                          <a:solidFill>
                            <a:srgbClr val="0070C0"/>
                          </a:solidFill>
                        </a:rPr>
                        <a:t>-</a:t>
                      </a:r>
                      <a:endParaRPr kumimoji="1" lang="ja-JP" altLang="en-US" dirty="0">
                        <a:solidFill>
                          <a:srgbClr val="0070C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261074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kumimoji="1" lang="ja-JP" altLang="en-US" dirty="0">
                          <a:solidFill>
                            <a:srgbClr val="0070C0"/>
                          </a:solidFill>
                        </a:rPr>
                        <a:t>プロトタイプレビュー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63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BIZ UDPゴシック"/>
                          <a:ea typeface="BIZ UDPゴシック"/>
                          <a:cs typeface="+mn-cs"/>
                        </a:rPr>
                        <a:t>未実施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63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BIZ UDPゴシック"/>
                          <a:ea typeface="BIZ UDPゴシック"/>
                          <a:cs typeface="+mn-cs"/>
                        </a:rPr>
                        <a:t>無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ja-JP" altLang="en-US" dirty="0">
                          <a:solidFill>
                            <a:srgbClr val="0070C0"/>
                          </a:solidFill>
                        </a:rPr>
                        <a:t>モニター社員よりフィードバック</a:t>
                      </a:r>
                      <a:endParaRPr kumimoji="1" lang="en-US" altLang="ja-JP" dirty="0">
                        <a:solidFill>
                          <a:srgbClr val="0070C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955254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kumimoji="1" lang="ja-JP" altLang="en-US" dirty="0">
                        <a:solidFill>
                          <a:srgbClr val="0070C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463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uLnTx/>
                        <a:uFillTx/>
                        <a:latin typeface="BIZ UDPゴシック"/>
                        <a:ea typeface="BIZ UDPゴシック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463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uLnTx/>
                        <a:uFillTx/>
                        <a:latin typeface="BIZ UDPゴシック"/>
                        <a:ea typeface="BIZ UDPゴシック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328072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41080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テキスト プレースホルダー 1">
            <a:extLst>
              <a:ext uri="{FF2B5EF4-FFF2-40B4-BE49-F238E27FC236}">
                <a16:creationId xmlns:a16="http://schemas.microsoft.com/office/drawing/2014/main" id="{02EB99B5-F15E-5918-8C4B-95B5DE8DC4E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00779" y="1134673"/>
            <a:ext cx="11376000" cy="661720"/>
          </a:xfrm>
        </p:spPr>
        <p:txBody>
          <a:bodyPr/>
          <a:lstStyle/>
          <a:p>
            <a:r>
              <a:rPr lang="en-US" altLang="ja-JP"/>
              <a:t>2</a:t>
            </a:r>
            <a:r>
              <a:rPr kumimoji="1" lang="en-US" altLang="ja-JP"/>
              <a:t>. </a:t>
            </a:r>
            <a:r>
              <a:rPr lang="ja-JP" altLang="en-US"/>
              <a:t>進捗</a:t>
            </a:r>
            <a:r>
              <a:rPr kumimoji="1" lang="ja-JP" altLang="en-US"/>
              <a:t>報告（成果物等）</a:t>
            </a:r>
            <a:endParaRPr kumimoji="1" lang="en-US" altLang="ja-JP"/>
          </a:p>
          <a:p>
            <a:r>
              <a:rPr lang="ja-JP" altLang="en-US"/>
              <a:t>　　</a:t>
            </a:r>
            <a:endParaRPr kumimoji="1" lang="ja-JP" altLang="en-US">
              <a:solidFill>
                <a:schemeClr val="tx1"/>
              </a:solidFill>
            </a:endParaRP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C5333301-1A63-B710-1509-005FC55AF02B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r>
              <a:rPr kumimoji="1" lang="ja-JP" altLang="en-US"/>
              <a:t>プロジェクトの進捗報告（</a:t>
            </a:r>
            <a:r>
              <a:rPr kumimoji="1" lang="en-US" altLang="ja-JP"/>
              <a:t>XX</a:t>
            </a:r>
            <a:r>
              <a:rPr kumimoji="1" lang="ja-JP" altLang="en-US"/>
              <a:t>月）</a:t>
            </a:r>
          </a:p>
        </p:txBody>
      </p:sp>
      <p:sp>
        <p:nvSpPr>
          <p:cNvPr id="4" name="タイトル 3">
            <a:extLst>
              <a:ext uri="{FF2B5EF4-FFF2-40B4-BE49-F238E27FC236}">
                <a16:creationId xmlns:a16="http://schemas.microsoft.com/office/drawing/2014/main" id="{F83E8D46-A06C-D27F-30D4-47F99B1A07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プロジェクト進捗</a:t>
            </a: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D1EBB277-187A-704D-CDD3-618ACC2C33AF}"/>
              </a:ext>
            </a:extLst>
          </p:cNvPr>
          <p:cNvSpPr/>
          <p:nvPr/>
        </p:nvSpPr>
        <p:spPr>
          <a:xfrm>
            <a:off x="1486758" y="1796393"/>
            <a:ext cx="8985380" cy="4123468"/>
          </a:xfrm>
          <a:prstGeom prst="rect">
            <a:avLst/>
          </a:prstGeom>
          <a:solidFill>
            <a:srgbClr val="EDEE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spcBef>
                <a:spcPts val="300"/>
              </a:spcBef>
            </a:pPr>
            <a:r>
              <a:rPr kumimoji="1" lang="ja-JP" altLang="en-US" sz="1600">
                <a:solidFill>
                  <a:schemeClr val="tx1"/>
                </a:solidFill>
              </a:rPr>
              <a:t>成果物の画面サンプルや、実証実験の様子などを報告。</a:t>
            </a:r>
          </a:p>
        </p:txBody>
      </p:sp>
    </p:spTree>
    <p:extLst>
      <p:ext uri="{BB962C8B-B14F-4D97-AF65-F5344CB8AC3E}">
        <p14:creationId xmlns:p14="http://schemas.microsoft.com/office/powerpoint/2010/main" val="38909123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テキスト プレースホルダー 1">
            <a:extLst>
              <a:ext uri="{FF2B5EF4-FFF2-40B4-BE49-F238E27FC236}">
                <a16:creationId xmlns:a16="http://schemas.microsoft.com/office/drawing/2014/main" id="{02EB99B5-F15E-5918-8C4B-95B5DE8DC4E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00779" y="1134673"/>
            <a:ext cx="11376000" cy="353943"/>
          </a:xfrm>
        </p:spPr>
        <p:txBody>
          <a:bodyPr/>
          <a:lstStyle/>
          <a:p>
            <a:r>
              <a:rPr kumimoji="1" lang="ja-JP" altLang="en-US"/>
              <a:t>３</a:t>
            </a:r>
            <a:r>
              <a:rPr kumimoji="1" lang="en-US" altLang="ja-JP"/>
              <a:t>. </a:t>
            </a:r>
            <a:r>
              <a:rPr kumimoji="1" lang="ja-JP" altLang="en-US"/>
              <a:t>その他申し送り事項</a:t>
            </a:r>
            <a:r>
              <a:rPr lang="ja-JP" altLang="en-US"/>
              <a:t>　　</a:t>
            </a:r>
            <a:endParaRPr kumimoji="1" lang="ja-JP" altLang="en-US">
              <a:solidFill>
                <a:schemeClr val="tx1"/>
              </a:solidFill>
            </a:endParaRP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C5333301-1A63-B710-1509-005FC55AF02B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r>
              <a:rPr kumimoji="1" lang="ja-JP" altLang="en-US"/>
              <a:t>プロジェクトの進捗報告（</a:t>
            </a:r>
            <a:r>
              <a:rPr lang="en-US" altLang="ja-JP"/>
              <a:t>XX</a:t>
            </a:r>
            <a:r>
              <a:rPr kumimoji="1" lang="ja-JP" altLang="en-US"/>
              <a:t>月）</a:t>
            </a:r>
          </a:p>
        </p:txBody>
      </p:sp>
      <p:sp>
        <p:nvSpPr>
          <p:cNvPr id="4" name="タイトル 3">
            <a:extLst>
              <a:ext uri="{FF2B5EF4-FFF2-40B4-BE49-F238E27FC236}">
                <a16:creationId xmlns:a16="http://schemas.microsoft.com/office/drawing/2014/main" id="{F83E8D46-A06C-D27F-30D4-47F99B1A07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プロジェクト進捗</a:t>
            </a: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46B44861-E9C0-138A-7BF9-98797AA9FD85}"/>
              </a:ext>
            </a:extLst>
          </p:cNvPr>
          <p:cNvSpPr/>
          <p:nvPr/>
        </p:nvSpPr>
        <p:spPr>
          <a:xfrm>
            <a:off x="1486758" y="1796393"/>
            <a:ext cx="8985380" cy="4123468"/>
          </a:xfrm>
          <a:prstGeom prst="rect">
            <a:avLst/>
          </a:prstGeom>
          <a:solidFill>
            <a:srgbClr val="EDEE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spcBef>
                <a:spcPts val="300"/>
              </a:spcBef>
            </a:pPr>
            <a:r>
              <a:rPr kumimoji="1" lang="ja-JP" altLang="en-US" sz="1600">
                <a:solidFill>
                  <a:schemeClr val="tx1"/>
                </a:solidFill>
              </a:rPr>
              <a:t>その他、国交省への申し送り事項やトラブル対応などを報告</a:t>
            </a:r>
          </a:p>
        </p:txBody>
      </p:sp>
    </p:spTree>
    <p:extLst>
      <p:ext uri="{BB962C8B-B14F-4D97-AF65-F5344CB8AC3E}">
        <p14:creationId xmlns:p14="http://schemas.microsoft.com/office/powerpoint/2010/main" val="7483096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CUTtPLl_woWDjQCX8xSw"/>
</p:tagLst>
</file>

<file path=ppt/theme/theme1.xml><?xml version="1.0" encoding="utf-8"?>
<a:theme xmlns:a="http://schemas.openxmlformats.org/drawingml/2006/main" name="標準デザイン_配布版">
  <a:themeElements>
    <a:clrScheme name="plateau color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EDEEEE"/>
      </a:accent1>
      <a:accent2>
        <a:srgbClr val="00C2C0"/>
      </a:accent2>
      <a:accent3>
        <a:srgbClr val="483A67"/>
      </a:accent3>
      <a:accent4>
        <a:srgbClr val="E0F300"/>
      </a:accent4>
      <a:accent5>
        <a:srgbClr val="E73A43"/>
      </a:accent5>
      <a:accent6>
        <a:srgbClr val="00DA44"/>
      </a:accent6>
      <a:hlink>
        <a:srgbClr val="009999"/>
      </a:hlink>
      <a:folHlink>
        <a:srgbClr val="99CC00"/>
      </a:folHlink>
    </a:clrScheme>
    <a:fontScheme name="ユーザー定義 5">
      <a:majorFont>
        <a:latin typeface="BIZ UDPゴシック"/>
        <a:ea typeface="BIZ UDPゴシック"/>
        <a:cs typeface=""/>
      </a:majorFont>
      <a:minorFont>
        <a:latin typeface="BIZ UDPゴシック"/>
        <a:ea typeface="BIZ UDP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DEEEE"/>
        </a:solidFill>
        <a:ln>
          <a:noFill/>
        </a:ln>
      </a:spPr>
      <a:bodyPr lIns="36000" tIns="36000" rIns="36000" bIns="36000" rtlCol="0" anchor="ctr"/>
      <a:lstStyle>
        <a:defPPr algn="ctr">
          <a:spcBef>
            <a:spcPts val="300"/>
          </a:spcBef>
          <a:defRPr kumimoji="1"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 algn="l">
          <a:defRPr kumimoji="1" sz="1100" dirty="0">
            <a:latin typeface="+mn-ea"/>
            <a:ea typeface="+mn-ea"/>
          </a:defRPr>
        </a:defPPr>
      </a:lstStyle>
    </a:txDef>
  </a:objectDefaults>
  <a:extraClrSchemeLst>
    <a:extraClrScheme>
      <a:clrScheme name="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プレゼンテーションタイトル.pptx" id="{E7498F8A-E358-466F-AF97-A85145EC8708}" vid="{1396C27A-9803-4462-9F31-16E49278FC2D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<Relationships xmlns="http://schemas.openxmlformats.org/package/2006/relationships"><Relationship Id="rId1" Target="itemProps1.xml" Type="http://schemas.openxmlformats.org/officeDocument/2006/relationships/customXmlProps"/></Relationships>
</file>

<file path=customXml/_rels/item2.xml.rels><?xml version="1.0" encoding="UTF-8" standalone="yes"?><Relationships xmlns="http://schemas.openxmlformats.org/package/2006/relationships"><Relationship Id="rId1" Target="itemProps2.xml" Type="http://schemas.openxmlformats.org/officeDocument/2006/relationships/customXmlProps"/></Relationships>
</file>

<file path=customXml/_rels/item3.xml.rels><?xml version="1.0" encoding="UTF-8" standalone="yes"?><Relationships xmlns="http://schemas.openxmlformats.org/package/2006/relationships"><Relationship Id="rId1" Target="itemProps3.xml" Type="http://schemas.openxmlformats.org/officeDocument/2006/relationships/customXmlProps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796a868-7127-405e-9e92-a32837cab98d">
      <Terms xmlns="http://schemas.microsoft.com/office/infopath/2007/PartnerControls"/>
    </lcf76f155ced4ddcb4097134ff3c332f>
    <TaxCatchAll xmlns="32f61a2f-400f-4e9e-94b6-317688899f2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F006C88635A2424E86804F2342387106" ma:contentTypeVersion="15" ma:contentTypeDescription="新しいドキュメントを作成します。" ma:contentTypeScope="" ma:versionID="c0aecfde86254b3ee9b7b4fd78e73f19">
  <xsd:schema xmlns:xsd="http://www.w3.org/2001/XMLSchema" xmlns:xs="http://www.w3.org/2001/XMLSchema" xmlns:p="http://schemas.microsoft.com/office/2006/metadata/properties" xmlns:ns2="8796a868-7127-405e-9e92-a32837cab98d" xmlns:ns3="32f61a2f-400f-4e9e-94b6-317688899f21" targetNamespace="http://schemas.microsoft.com/office/2006/metadata/properties" ma:root="true" ma:fieldsID="d5592a7257a948fbcd1d3748c3bfbe83" ns2:_="" ns3:_="">
    <xsd:import namespace="8796a868-7127-405e-9e92-a32837cab98d"/>
    <xsd:import namespace="32f61a2f-400f-4e9e-94b6-317688899f2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96a868-7127-405e-9e92-a32837cab98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11" nillable="true" ma:displayName="Location" ma:indexed="true" ma:internalName="MediaServiceLocatio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6" nillable="true" ma:taxonomy="true" ma:internalName="lcf76f155ced4ddcb4097134ff3c332f" ma:taxonomyFieldName="MediaServiceImageTags" ma:displayName="画像タグ" ma:readOnly="false" ma:fieldId="{5cf76f15-5ced-4ddc-b409-7134ff3c332f}" ma:taxonomyMulti="true" ma:sspId="32dd98ac-7f38-441c-8624-e0daaf53fd8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f61a2f-400f-4e9e-94b6-317688899f21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f2552a0e-6428-4380-80fc-c6793b9d132f}" ma:internalName="TaxCatchAll" ma:showField="CatchAllData" ma:web="32f61a2f-400f-4e9e-94b6-317688899f2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8A04661-F4E9-4108-811E-23CAD80C9C75}">
  <ds:schemaRefs>
    <ds:schemaRef ds:uri="8796a868-7127-405e-9e92-a32837cab98d"/>
    <ds:schemaRef ds:uri="http://www.w3.org/XML/1998/namespace"/>
    <ds:schemaRef ds:uri="32f61a2f-400f-4e9e-94b6-317688899f21"/>
    <ds:schemaRef ds:uri="http://purl.org/dc/elements/1.1/"/>
    <ds:schemaRef ds:uri="http://purl.org/dc/dcmitype/"/>
    <ds:schemaRef ds:uri="http://schemas.microsoft.com/office/2006/documentManagement/types"/>
    <ds:schemaRef ds:uri="http://purl.org/dc/terms/"/>
    <ds:schemaRef ds:uri="http://schemas.microsoft.com/office/2006/metadata/properties"/>
    <ds:schemaRef ds:uri="http://schemas.openxmlformats.org/package/2006/metadata/core-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8243C772-4F42-4155-8BD4-E039F18C1FEB}">
  <ds:schemaRefs>
    <ds:schemaRef ds:uri="32f61a2f-400f-4e9e-94b6-317688899f21"/>
    <ds:schemaRef ds:uri="8796a868-7127-405e-9e92-a32837cab98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EF3402CF-0971-4FC5-B115-17C9C0A95925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Words>211</Words>
  <PresentationFormat>ワイド画面</PresentationFormat>
  <Paragraphs>50</Paragraphs>
  <Slides>4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7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4</vt:i4>
      </vt:variant>
    </vt:vector>
  </HeadingPairs>
  <TitlesOfParts>
    <vt:vector size="13" baseType="lpstr">
      <vt:lpstr>BIZ UDPゴシック</vt:lpstr>
      <vt:lpstr>HGP創英角ｺﾞｼｯｸUB</vt:lpstr>
      <vt:lpstr>Meiryo UI</vt:lpstr>
      <vt:lpstr>Noto Sans JP</vt:lpstr>
      <vt:lpstr>游ゴシック</vt:lpstr>
      <vt:lpstr>游ゴシック Medium</vt:lpstr>
      <vt:lpstr>Arial</vt:lpstr>
      <vt:lpstr>標準デザイン_配布版</vt:lpstr>
      <vt:lpstr>think-cell スライド</vt:lpstr>
      <vt:lpstr>プロジェクト進捗</vt:lpstr>
      <vt:lpstr>プロジェクト進捗</vt:lpstr>
      <vt:lpstr>プロジェクト進捗</vt:lpstr>
      <vt:lpstr>プロジェクト進捗</vt:lpstr>
    </vt:vector>
  </TitlesOfParts>
  <LinksUpToDate>false</LinksUpToDate>
  <SharedDoc>false</SharedDoc>
  <HyperlinksChanged>false</HyperlinksChanged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xsi="http://www.w3.org/2001/XMLSchema-instance"/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006C88635A2424E86804F2342387106</vt:lpwstr>
  </property>
  <property fmtid="{D5CDD505-2E9C-101B-9397-08002B2CF9AE}" pid="3" name="MediaServiceImageTags">
    <vt:lpwstr/>
  </property>
  <property fmtid="{D5CDD505-2E9C-101B-9397-08002B2CF9AE}" pid="4" name="xd_ProgID">
    <vt:lpwstr/>
  </property>
  <property fmtid="{D5CDD505-2E9C-101B-9397-08002B2CF9AE}" pid="5" name="ComplianceAssetId">
    <vt:lpwstr/>
  </property>
  <property fmtid="{D5CDD505-2E9C-101B-9397-08002B2CF9AE}" pid="6" name="TemplateUrl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  <property fmtid="{D5CDD505-2E9C-101B-9397-08002B2CF9AE}" pid="9" name="xd_Signature">
    <vt:lpwstr/>
  </property>
</Properties>
</file>